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8"/>
  </p:notesMasterIdLst>
  <p:sldIdLst>
    <p:sldId id="256" r:id="rId5"/>
    <p:sldId id="4126" r:id="rId6"/>
    <p:sldId id="4125" r:id="rId7"/>
    <p:sldId id="3542" r:id="rId8"/>
    <p:sldId id="3552" r:id="rId9"/>
    <p:sldId id="4142" r:id="rId10"/>
    <p:sldId id="280" r:id="rId11"/>
    <p:sldId id="4141" r:id="rId12"/>
    <p:sldId id="4137" r:id="rId13"/>
    <p:sldId id="4136" r:id="rId14"/>
    <p:sldId id="3540" r:id="rId15"/>
    <p:sldId id="3560" r:id="rId16"/>
    <p:sldId id="3543" r:id="rId17"/>
    <p:sldId id="3546" r:id="rId18"/>
    <p:sldId id="3539" r:id="rId19"/>
    <p:sldId id="4128" r:id="rId20"/>
    <p:sldId id="3563" r:id="rId21"/>
    <p:sldId id="3532" r:id="rId22"/>
    <p:sldId id="4127" r:id="rId23"/>
    <p:sldId id="3566" r:id="rId24"/>
    <p:sldId id="4129" r:id="rId25"/>
    <p:sldId id="3568" r:id="rId26"/>
    <p:sldId id="4139" r:id="rId27"/>
    <p:sldId id="263" r:id="rId28"/>
    <p:sldId id="3550" r:id="rId29"/>
    <p:sldId id="3561" r:id="rId30"/>
    <p:sldId id="4135" r:id="rId31"/>
    <p:sldId id="465" r:id="rId32"/>
    <p:sldId id="454" r:id="rId33"/>
    <p:sldId id="4134" r:id="rId34"/>
    <p:sldId id="4133" r:id="rId35"/>
    <p:sldId id="4132" r:id="rId36"/>
    <p:sldId id="3556" r:id="rId37"/>
    <p:sldId id="4138" r:id="rId38"/>
    <p:sldId id="4130" r:id="rId39"/>
    <p:sldId id="4131" r:id="rId40"/>
    <p:sldId id="3548" r:id="rId41"/>
    <p:sldId id="3555" r:id="rId42"/>
    <p:sldId id="272" r:id="rId43"/>
    <p:sldId id="273" r:id="rId44"/>
    <p:sldId id="3553" r:id="rId45"/>
    <p:sldId id="3554" r:id="rId46"/>
    <p:sldId id="4140" r:id="rId4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0C49A983-6449-4BD4-BF2F-031380B00CA7}">
          <p14:sldIdLst>
            <p14:sldId id="256"/>
            <p14:sldId id="4126"/>
            <p14:sldId id="4125"/>
            <p14:sldId id="3542"/>
            <p14:sldId id="3552"/>
            <p14:sldId id="4142"/>
            <p14:sldId id="280"/>
            <p14:sldId id="4141"/>
            <p14:sldId id="4137"/>
          </p14:sldIdLst>
        </p14:section>
        <p14:section name="Konto og ksted" id="{4FBD4618-A45F-4587-B51E-E4EFAA1BC969}">
          <p14:sldIdLst>
            <p14:sldId id="4136"/>
          </p14:sldIdLst>
        </p14:section>
        <p14:section name="Prosjektstruktur BFV" id="{E3CEFC38-C4AD-4987-AF3E-5A3D687898D8}">
          <p14:sldIdLst>
            <p14:sldId id="3540"/>
            <p14:sldId id="3560"/>
            <p14:sldId id="3543"/>
            <p14:sldId id="3546"/>
            <p14:sldId id="3539"/>
            <p14:sldId id="4128"/>
            <p14:sldId id="3563"/>
            <p14:sldId id="3532"/>
            <p14:sldId id="4127"/>
            <p14:sldId id="3566"/>
            <p14:sldId id="4129"/>
            <p14:sldId id="3568"/>
            <p14:sldId id="4139"/>
            <p14:sldId id="263"/>
          </p14:sldIdLst>
        </p14:section>
        <p14:section name="Prosjektstruktur BOA" id="{AEB2EEC8-6BFA-46A7-A4A7-F6BB8B377ECF}">
          <p14:sldIdLst>
            <p14:sldId id="3550"/>
            <p14:sldId id="3561"/>
            <p14:sldId id="4135"/>
            <p14:sldId id="465"/>
            <p14:sldId id="454"/>
            <p14:sldId id="4134"/>
            <p14:sldId id="4133"/>
            <p14:sldId id="4132"/>
            <p14:sldId id="3556"/>
            <p14:sldId id="4138"/>
            <p14:sldId id="4130"/>
            <p14:sldId id="4131"/>
            <p14:sldId id="3548"/>
          </p14:sldIdLst>
        </p14:section>
        <p14:section name="Diverse" id="{0AD318A6-8EC0-440E-984C-6AEF2E53261B}">
          <p14:sldIdLst>
            <p14:sldId id="3555"/>
            <p14:sldId id="272"/>
            <p14:sldId id="273"/>
            <p14:sldId id="3553"/>
          </p14:sldIdLst>
        </p14:section>
        <p14:section name="Avslutning" id="{48C02EDB-6332-4C3C-BA2E-2CCB45A95DCE}">
          <p14:sldIdLst>
            <p14:sldId id="3554"/>
            <p14:sldId id="414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C5B975-F26D-414E-9131-DF85FD8BC002}" v="899" dt="2021-06-23T06:41:47.8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2" d="100"/>
          <a:sy n="122" d="100"/>
        </p:scale>
        <p:origin x="114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ette Ysland Ludvigsen" userId="5cc2156a-4192-4fe6-8372-bcf947567e0f" providerId="ADAL" clId="{29604A7C-77EF-4D8C-A274-1EAA9DB0101B}"/>
    <pc:docChg chg="undo custSel addSld delSld modSld sldOrd addSection delSection modSection">
      <pc:chgData name="Annette Ysland Ludvigsen" userId="5cc2156a-4192-4fe6-8372-bcf947567e0f" providerId="ADAL" clId="{29604A7C-77EF-4D8C-A274-1EAA9DB0101B}" dt="2021-06-14T13:47:57.008" v="11983" actId="1076"/>
      <pc:docMkLst>
        <pc:docMk/>
      </pc:docMkLst>
      <pc:sldChg chg="addSp delSp modSp mod setBg setClrOvrMap">
        <pc:chgData name="Annette Ysland Ludvigsen" userId="5cc2156a-4192-4fe6-8372-bcf947567e0f" providerId="ADAL" clId="{29604A7C-77EF-4D8C-A274-1EAA9DB0101B}" dt="2021-06-10T06:11:19.468" v="1591" actId="26606"/>
        <pc:sldMkLst>
          <pc:docMk/>
          <pc:sldMk cId="1246628772" sldId="256"/>
        </pc:sldMkLst>
        <pc:spChg chg="mod ord">
          <ac:chgData name="Annette Ysland Ludvigsen" userId="5cc2156a-4192-4fe6-8372-bcf947567e0f" providerId="ADAL" clId="{29604A7C-77EF-4D8C-A274-1EAA9DB0101B}" dt="2021-06-10T06:11:19.468" v="1591" actId="26606"/>
          <ac:spMkLst>
            <pc:docMk/>
            <pc:sldMk cId="1246628772" sldId="256"/>
            <ac:spMk id="2" creationId="{54896ED6-4AAF-43F7-85C6-1416EF434EA5}"/>
          </ac:spMkLst>
        </pc:spChg>
        <pc:spChg chg="mod ord">
          <ac:chgData name="Annette Ysland Ludvigsen" userId="5cc2156a-4192-4fe6-8372-bcf947567e0f" providerId="ADAL" clId="{29604A7C-77EF-4D8C-A274-1EAA9DB0101B}" dt="2021-06-10T06:11:19.468" v="1591" actId="26606"/>
          <ac:spMkLst>
            <pc:docMk/>
            <pc:sldMk cId="1246628772" sldId="256"/>
            <ac:spMk id="3" creationId="{1798C838-81F3-4427-BE65-6F53168D170C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9" creationId="{07322A9E-F1EC-405E-8971-BA906EFFCCB8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11" creationId="{A5704422-1118-4FD1-95AD-29A064EB80D9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13" creationId="{A88B2AAA-B805-498E-A9E6-98B885855498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15" creationId="{9B8051E0-19D7-43E1-BFD9-E6DBFEB3A3F1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17" creationId="{4EDB2B02-86A2-46F5-A4BE-B7D9B10411D6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19" creationId="{43954639-FB5D-41F4-9560-6F6DFE778425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21" creationId="{E898931C-0323-41FA-A036-20F818B1FF81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23" creationId="{89AFE9DD-0792-4B98-B4EB-97ACA17E6AA8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25" creationId="{3981F5C4-9AE1-404E-AF44-A4E6DB374F9D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27" creationId="{763C1781-8726-4FAC-8C45-FF40376BE409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29" creationId="{301491B5-56C7-43DC-A3D9-861EECCA056A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31" creationId="{237E2353-22DF-46E0-A200-FB30F8F394E2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33" creationId="{DD6138DB-057B-45F7-A5F4-E7BFDA20D02C}"/>
          </ac:spMkLst>
        </pc:spChg>
        <pc:spChg chg="add del">
          <ac:chgData name="Annette Ysland Ludvigsen" userId="5cc2156a-4192-4fe6-8372-bcf947567e0f" providerId="ADAL" clId="{29604A7C-77EF-4D8C-A274-1EAA9DB0101B}" dt="2021-06-10T06:09:52.783" v="1553" actId="26606"/>
          <ac:spMkLst>
            <pc:docMk/>
            <pc:sldMk cId="1246628772" sldId="256"/>
            <ac:spMk id="35" creationId="{79A54AB1-B64F-4843-BFAB-81CB74E66B65}"/>
          </ac:spMkLst>
        </pc:spChg>
        <pc:spChg chg="add del">
          <ac:chgData name="Annette Ysland Ludvigsen" userId="5cc2156a-4192-4fe6-8372-bcf947567e0f" providerId="ADAL" clId="{29604A7C-77EF-4D8C-A274-1EAA9DB0101B}" dt="2021-06-10T06:09:55.778" v="1555" actId="26606"/>
          <ac:spMkLst>
            <pc:docMk/>
            <pc:sldMk cId="1246628772" sldId="256"/>
            <ac:spMk id="37" creationId="{17CDB40A-75BB-4498-A20B-59C3984A3A94}"/>
          </ac:spMkLst>
        </pc:spChg>
        <pc:spChg chg="add del">
          <ac:chgData name="Annette Ysland Ludvigsen" userId="5cc2156a-4192-4fe6-8372-bcf947567e0f" providerId="ADAL" clId="{29604A7C-77EF-4D8C-A274-1EAA9DB0101B}" dt="2021-06-10T06:09:58.963" v="1557" actId="26606"/>
          <ac:spMkLst>
            <pc:docMk/>
            <pc:sldMk cId="1246628772" sldId="256"/>
            <ac:spMk id="39" creationId="{9B7AD9F6-8CE7-4299-8FC6-328F4DCD3FF9}"/>
          </ac:spMkLst>
        </pc:spChg>
        <pc:spChg chg="add del">
          <ac:chgData name="Annette Ysland Ludvigsen" userId="5cc2156a-4192-4fe6-8372-bcf947567e0f" providerId="ADAL" clId="{29604A7C-77EF-4D8C-A274-1EAA9DB0101B}" dt="2021-06-10T06:09:58.963" v="1557" actId="26606"/>
          <ac:spMkLst>
            <pc:docMk/>
            <pc:sldMk cId="1246628772" sldId="256"/>
            <ac:spMk id="40" creationId="{F49775AF-8896-43EE-92C6-83497D6DC56F}"/>
          </ac:spMkLst>
        </pc:spChg>
        <pc:spChg chg="add del">
          <ac:chgData name="Annette Ysland Ludvigsen" userId="5cc2156a-4192-4fe6-8372-bcf947567e0f" providerId="ADAL" clId="{29604A7C-77EF-4D8C-A274-1EAA9DB0101B}" dt="2021-06-10T06:10:08.298" v="1559" actId="26606"/>
          <ac:spMkLst>
            <pc:docMk/>
            <pc:sldMk cId="1246628772" sldId="256"/>
            <ac:spMk id="42" creationId="{F170E346-B98B-43A6-A4DA-D36FF63284B3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4" creationId="{07322A9E-F1EC-405E-8971-BA906EFFCCB8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5" creationId="{A5704422-1118-4FD1-95AD-29A064EB80D9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6" creationId="{A88B2AAA-B805-498E-A9E6-98B885855498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7" creationId="{9B8051E0-19D7-43E1-BFD9-E6DBFEB3A3F1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8" creationId="{4EDB2B02-86A2-46F5-A4BE-B7D9B10411D6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49" creationId="{43954639-FB5D-41F4-9560-6F6DFE778425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0" creationId="{E898931C-0323-41FA-A036-20F818B1FF81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1" creationId="{89AFE9DD-0792-4B98-B4EB-97ACA17E6AA8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2" creationId="{3981F5C4-9AE1-404E-AF44-A4E6DB374F9D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3" creationId="{763C1781-8726-4FAC-8C45-FF40376BE409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4" creationId="{301491B5-56C7-43DC-A3D9-861EECCA056A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5" creationId="{237E2353-22DF-46E0-A200-FB30F8F394E2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6" creationId="{DD6138DB-057B-45F7-A5F4-E7BFDA20D02C}"/>
          </ac:spMkLst>
        </pc:spChg>
        <pc:spChg chg="add del">
          <ac:chgData name="Annette Ysland Ludvigsen" userId="5cc2156a-4192-4fe6-8372-bcf947567e0f" providerId="ADAL" clId="{29604A7C-77EF-4D8C-A274-1EAA9DB0101B}" dt="2021-06-10T06:10:08.948" v="1561" actId="26606"/>
          <ac:spMkLst>
            <pc:docMk/>
            <pc:sldMk cId="1246628772" sldId="256"/>
            <ac:spMk id="57" creationId="{79A54AB1-B64F-4843-BFAB-81CB74E66B65}"/>
          </ac:spMkLst>
        </pc:spChg>
        <pc:spChg chg="add del">
          <ac:chgData name="Annette Ysland Ludvigsen" userId="5cc2156a-4192-4fe6-8372-bcf947567e0f" providerId="ADAL" clId="{29604A7C-77EF-4D8C-A274-1EAA9DB0101B}" dt="2021-06-10T06:10:11.708" v="1563" actId="26606"/>
          <ac:spMkLst>
            <pc:docMk/>
            <pc:sldMk cId="1246628772" sldId="256"/>
            <ac:spMk id="59" creationId="{71B2258F-86CA-4D4D-8270-BC05FCDEBFB3}"/>
          </ac:spMkLst>
        </pc:spChg>
        <pc:spChg chg="add del">
          <ac:chgData name="Annette Ysland Ludvigsen" userId="5cc2156a-4192-4fe6-8372-bcf947567e0f" providerId="ADAL" clId="{29604A7C-77EF-4D8C-A274-1EAA9DB0101B}" dt="2021-06-10T06:10:23.638" v="1565" actId="26606"/>
          <ac:spMkLst>
            <pc:docMk/>
            <pc:sldMk cId="1246628772" sldId="256"/>
            <ac:spMk id="61" creationId="{F170E346-B98B-43A6-A4DA-D36FF63284B3}"/>
          </ac:spMkLst>
        </pc:spChg>
        <pc:spChg chg="add del">
          <ac:chgData name="Annette Ysland Ludvigsen" userId="5cc2156a-4192-4fe6-8372-bcf947567e0f" providerId="ADAL" clId="{29604A7C-77EF-4D8C-A274-1EAA9DB0101B}" dt="2021-06-10T06:11:19.468" v="1591" actId="26606"/>
          <ac:spMkLst>
            <pc:docMk/>
            <pc:sldMk cId="1246628772" sldId="256"/>
            <ac:spMk id="66" creationId="{C1DD1A8A-57D5-4A81-AD04-532B043C5611}"/>
          </ac:spMkLst>
        </pc:spChg>
        <pc:spChg chg="add del">
          <ac:chgData name="Annette Ysland Ludvigsen" userId="5cc2156a-4192-4fe6-8372-bcf947567e0f" providerId="ADAL" clId="{29604A7C-77EF-4D8C-A274-1EAA9DB0101B}" dt="2021-06-10T06:11:19.468" v="1591" actId="26606"/>
          <ac:spMkLst>
            <pc:docMk/>
            <pc:sldMk cId="1246628772" sldId="256"/>
            <ac:spMk id="68" creationId="{007891EC-4501-44ED-A8C8-B11B6DB767AB}"/>
          </ac:spMkLst>
        </pc:spChg>
        <pc:spChg chg="add del">
          <ac:chgData name="Annette Ysland Ludvigsen" userId="5cc2156a-4192-4fe6-8372-bcf947567e0f" providerId="ADAL" clId="{29604A7C-77EF-4D8C-A274-1EAA9DB0101B}" dt="2021-06-10T06:11:04.824" v="1572" actId="26606"/>
          <ac:spMkLst>
            <pc:docMk/>
            <pc:sldMk cId="1246628772" sldId="256"/>
            <ac:spMk id="73" creationId="{23D09407-53BC-485E-B4CE-BC5E4FC4B25B}"/>
          </ac:spMkLst>
        </pc:spChg>
        <pc:spChg chg="add del">
          <ac:chgData name="Annette Ysland Ludvigsen" userId="5cc2156a-4192-4fe6-8372-bcf947567e0f" providerId="ADAL" clId="{29604A7C-77EF-4D8C-A274-1EAA9DB0101B}" dt="2021-06-10T06:11:04.824" v="1572" actId="26606"/>
          <ac:spMkLst>
            <pc:docMk/>
            <pc:sldMk cId="1246628772" sldId="256"/>
            <ac:spMk id="75" creationId="{921DB988-49FC-4608-B0A2-E2F3A4019041}"/>
          </ac:spMkLst>
        </pc:spChg>
        <pc:spChg chg="add del">
          <ac:chgData name="Annette Ysland Ludvigsen" userId="5cc2156a-4192-4fe6-8372-bcf947567e0f" providerId="ADAL" clId="{29604A7C-77EF-4D8C-A274-1EAA9DB0101B}" dt="2021-06-10T06:11:16.808" v="1586" actId="26606"/>
          <ac:spMkLst>
            <pc:docMk/>
            <pc:sldMk cId="1246628772" sldId="256"/>
            <ac:spMk id="79" creationId="{D5FD337D-4D6B-4C8B-B6F5-121097E09881}"/>
          </ac:spMkLst>
        </pc:spChg>
        <pc:spChg chg="add del">
          <ac:chgData name="Annette Ysland Ludvigsen" userId="5cc2156a-4192-4fe6-8372-bcf947567e0f" providerId="ADAL" clId="{29604A7C-77EF-4D8C-A274-1EAA9DB0101B}" dt="2021-06-10T06:11:06.018" v="1574" actId="26606"/>
          <ac:spMkLst>
            <pc:docMk/>
            <pc:sldMk cId="1246628772" sldId="256"/>
            <ac:spMk id="89" creationId="{8A95209C-5275-4E15-8EA7-7F42980ABF2D}"/>
          </ac:spMkLst>
        </pc:spChg>
        <pc:spChg chg="add del">
          <ac:chgData name="Annette Ysland Ludvigsen" userId="5cc2156a-4192-4fe6-8372-bcf947567e0f" providerId="ADAL" clId="{29604A7C-77EF-4D8C-A274-1EAA9DB0101B}" dt="2021-06-10T06:11:06.018" v="1574" actId="26606"/>
          <ac:spMkLst>
            <pc:docMk/>
            <pc:sldMk cId="1246628772" sldId="256"/>
            <ac:spMk id="90" creationId="{DEF0EFD6-A3C2-4C94-A80A-BA9709D99013}"/>
          </ac:spMkLst>
        </pc:spChg>
        <pc:spChg chg="add del">
          <ac:chgData name="Annette Ysland Ludvigsen" userId="5cc2156a-4192-4fe6-8372-bcf947567e0f" providerId="ADAL" clId="{29604A7C-77EF-4D8C-A274-1EAA9DB0101B}" dt="2021-06-10T06:11:06.018" v="1574" actId="26606"/>
          <ac:spMkLst>
            <pc:docMk/>
            <pc:sldMk cId="1246628772" sldId="256"/>
            <ac:spMk id="91" creationId="{4F2ED431-E304-4FF0-9F4E-032783C9D612}"/>
          </ac:spMkLst>
        </pc:spChg>
        <pc:spChg chg="add del">
          <ac:chgData name="Annette Ysland Ludvigsen" userId="5cc2156a-4192-4fe6-8372-bcf947567e0f" providerId="ADAL" clId="{29604A7C-77EF-4D8C-A274-1EAA9DB0101B}" dt="2021-06-10T06:11:08.578" v="1576" actId="26606"/>
          <ac:spMkLst>
            <pc:docMk/>
            <pc:sldMk cId="1246628772" sldId="256"/>
            <ac:spMk id="93" creationId="{ECC07320-C2CA-4E29-8481-9D9E143C7788}"/>
          </ac:spMkLst>
        </pc:spChg>
        <pc:spChg chg="add del">
          <ac:chgData name="Annette Ysland Ludvigsen" userId="5cc2156a-4192-4fe6-8372-bcf947567e0f" providerId="ADAL" clId="{29604A7C-77EF-4D8C-A274-1EAA9DB0101B}" dt="2021-06-10T06:11:08.578" v="1576" actId="26606"/>
          <ac:spMkLst>
            <pc:docMk/>
            <pc:sldMk cId="1246628772" sldId="256"/>
            <ac:spMk id="94" creationId="{178FB36B-5BFE-42CA-BC60-1115E0D95EEC}"/>
          </ac:spMkLst>
        </pc:spChg>
        <pc:spChg chg="add del">
          <ac:chgData name="Annette Ysland Ludvigsen" userId="5cc2156a-4192-4fe6-8372-bcf947567e0f" providerId="ADAL" clId="{29604A7C-77EF-4D8C-A274-1EAA9DB0101B}" dt="2021-06-10T06:11:09.135" v="1578" actId="26606"/>
          <ac:spMkLst>
            <pc:docMk/>
            <pc:sldMk cId="1246628772" sldId="256"/>
            <ac:spMk id="96" creationId="{3A930249-8242-4E2B-AF17-C01826488321}"/>
          </ac:spMkLst>
        </pc:spChg>
        <pc:spChg chg="add del">
          <ac:chgData name="Annette Ysland Ludvigsen" userId="5cc2156a-4192-4fe6-8372-bcf947567e0f" providerId="ADAL" clId="{29604A7C-77EF-4D8C-A274-1EAA9DB0101B}" dt="2021-06-10T06:11:09.135" v="1578" actId="26606"/>
          <ac:spMkLst>
            <pc:docMk/>
            <pc:sldMk cId="1246628772" sldId="256"/>
            <ac:spMk id="97" creationId="{A5BDD999-C5E1-4B3E-A710-768673819165}"/>
          </ac:spMkLst>
        </pc:spChg>
        <pc:spChg chg="add del">
          <ac:chgData name="Annette Ysland Ludvigsen" userId="5cc2156a-4192-4fe6-8372-bcf947567e0f" providerId="ADAL" clId="{29604A7C-77EF-4D8C-A274-1EAA9DB0101B}" dt="2021-06-10T06:11:10.343" v="1580" actId="26606"/>
          <ac:spMkLst>
            <pc:docMk/>
            <pc:sldMk cId="1246628772" sldId="256"/>
            <ac:spMk id="99" creationId="{657F69E0-C4B0-4BEC-A689-4F8D877F05D4}"/>
          </ac:spMkLst>
        </pc:spChg>
        <pc:spChg chg="add del">
          <ac:chgData name="Annette Ysland Ludvigsen" userId="5cc2156a-4192-4fe6-8372-bcf947567e0f" providerId="ADAL" clId="{29604A7C-77EF-4D8C-A274-1EAA9DB0101B}" dt="2021-06-10T06:11:10.343" v="1580" actId="26606"/>
          <ac:spMkLst>
            <pc:docMk/>
            <pc:sldMk cId="1246628772" sldId="256"/>
            <ac:spMk id="100" creationId="{9F6380B4-6A1C-481E-8408-B4E6C75B9B81}"/>
          </ac:spMkLst>
        </pc:spChg>
        <pc:spChg chg="add del">
          <ac:chgData name="Annette Ysland Ludvigsen" userId="5cc2156a-4192-4fe6-8372-bcf947567e0f" providerId="ADAL" clId="{29604A7C-77EF-4D8C-A274-1EAA9DB0101B}" dt="2021-06-10T06:11:12.689" v="1582" actId="26606"/>
          <ac:spMkLst>
            <pc:docMk/>
            <pc:sldMk cId="1246628772" sldId="256"/>
            <ac:spMk id="102" creationId="{5A59F003-E00A-43F9-91DC-CC54E3B87466}"/>
          </ac:spMkLst>
        </pc:spChg>
        <pc:spChg chg="add del">
          <ac:chgData name="Annette Ysland Ludvigsen" userId="5cc2156a-4192-4fe6-8372-bcf947567e0f" providerId="ADAL" clId="{29604A7C-77EF-4D8C-A274-1EAA9DB0101B}" dt="2021-06-10T06:11:12.689" v="1582" actId="26606"/>
          <ac:spMkLst>
            <pc:docMk/>
            <pc:sldMk cId="1246628772" sldId="256"/>
            <ac:spMk id="103" creationId="{D74A4382-E3AD-430A-9A1F-DFA3E0E77A7D}"/>
          </ac:spMkLst>
        </pc:spChg>
        <pc:spChg chg="add del">
          <ac:chgData name="Annette Ysland Ludvigsen" userId="5cc2156a-4192-4fe6-8372-bcf947567e0f" providerId="ADAL" clId="{29604A7C-77EF-4D8C-A274-1EAA9DB0101B}" dt="2021-06-10T06:11:12.689" v="1582" actId="26606"/>
          <ac:spMkLst>
            <pc:docMk/>
            <pc:sldMk cId="1246628772" sldId="256"/>
            <ac:spMk id="104" creationId="{79F40191-0F44-4FD1-82CC-ACB507C14BE6}"/>
          </ac:spMkLst>
        </pc:spChg>
        <pc:spChg chg="add del">
          <ac:chgData name="Annette Ysland Ludvigsen" userId="5cc2156a-4192-4fe6-8372-bcf947567e0f" providerId="ADAL" clId="{29604A7C-77EF-4D8C-A274-1EAA9DB0101B}" dt="2021-06-10T06:11:16.458" v="1584" actId="26606"/>
          <ac:spMkLst>
            <pc:docMk/>
            <pc:sldMk cId="1246628772" sldId="256"/>
            <ac:spMk id="106" creationId="{AC477752-ACCA-41C1-9B1D-D0CED1F9CBDD}"/>
          </ac:spMkLst>
        </pc:spChg>
        <pc:spChg chg="add del">
          <ac:chgData name="Annette Ysland Ludvigsen" userId="5cc2156a-4192-4fe6-8372-bcf947567e0f" providerId="ADAL" clId="{29604A7C-77EF-4D8C-A274-1EAA9DB0101B}" dt="2021-06-10T06:11:16.808" v="1586" actId="26606"/>
          <ac:spMkLst>
            <pc:docMk/>
            <pc:sldMk cId="1246628772" sldId="256"/>
            <ac:spMk id="108" creationId="{017517EF-BD4D-4055-BDB4-A322C53568AD}"/>
          </ac:spMkLst>
        </pc:spChg>
        <pc:spChg chg="add del">
          <ac:chgData name="Annette Ysland Ludvigsen" userId="5cc2156a-4192-4fe6-8372-bcf947567e0f" providerId="ADAL" clId="{29604A7C-77EF-4D8C-A274-1EAA9DB0101B}" dt="2021-06-10T06:11:16.808" v="1586" actId="26606"/>
          <ac:spMkLst>
            <pc:docMk/>
            <pc:sldMk cId="1246628772" sldId="256"/>
            <ac:spMk id="109" creationId="{0ADDB668-2CA4-4D2B-9C34-3487CA330BA8}"/>
          </ac:spMkLst>
        </pc:spChg>
        <pc:spChg chg="add del">
          <ac:chgData name="Annette Ysland Ludvigsen" userId="5cc2156a-4192-4fe6-8372-bcf947567e0f" providerId="ADAL" clId="{29604A7C-77EF-4D8C-A274-1EAA9DB0101B}" dt="2021-06-10T06:11:16.808" v="1586" actId="26606"/>
          <ac:spMkLst>
            <pc:docMk/>
            <pc:sldMk cId="1246628772" sldId="256"/>
            <ac:spMk id="110" creationId="{2568BC19-F052-4108-93E1-6A3D1DEC072F}"/>
          </ac:spMkLst>
        </pc:spChg>
        <pc:spChg chg="add del">
          <ac:chgData name="Annette Ysland Ludvigsen" userId="5cc2156a-4192-4fe6-8372-bcf947567e0f" providerId="ADAL" clId="{29604A7C-77EF-4D8C-A274-1EAA9DB0101B}" dt="2021-06-10T06:11:18.165" v="1588" actId="26606"/>
          <ac:spMkLst>
            <pc:docMk/>
            <pc:sldMk cId="1246628772" sldId="256"/>
            <ac:spMk id="112" creationId="{AC477752-ACCA-41C1-9B1D-D0CED1F9CBDD}"/>
          </ac:spMkLst>
        </pc:spChg>
        <pc:spChg chg="add del">
          <ac:chgData name="Annette Ysland Ludvigsen" userId="5cc2156a-4192-4fe6-8372-bcf947567e0f" providerId="ADAL" clId="{29604A7C-77EF-4D8C-A274-1EAA9DB0101B}" dt="2021-06-10T06:11:19.458" v="1590" actId="26606"/>
          <ac:spMkLst>
            <pc:docMk/>
            <pc:sldMk cId="1246628772" sldId="256"/>
            <ac:spMk id="114" creationId="{017517EF-BD4D-4055-BDB4-A322C53568AD}"/>
          </ac:spMkLst>
        </pc:spChg>
        <pc:spChg chg="add del">
          <ac:chgData name="Annette Ysland Ludvigsen" userId="5cc2156a-4192-4fe6-8372-bcf947567e0f" providerId="ADAL" clId="{29604A7C-77EF-4D8C-A274-1EAA9DB0101B}" dt="2021-06-10T06:11:19.458" v="1590" actId="26606"/>
          <ac:spMkLst>
            <pc:docMk/>
            <pc:sldMk cId="1246628772" sldId="256"/>
            <ac:spMk id="115" creationId="{0ADDB668-2CA4-4D2B-9C34-3487CA330BA8}"/>
          </ac:spMkLst>
        </pc:spChg>
        <pc:spChg chg="add del">
          <ac:chgData name="Annette Ysland Ludvigsen" userId="5cc2156a-4192-4fe6-8372-bcf947567e0f" providerId="ADAL" clId="{29604A7C-77EF-4D8C-A274-1EAA9DB0101B}" dt="2021-06-10T06:11:19.458" v="1590" actId="26606"/>
          <ac:spMkLst>
            <pc:docMk/>
            <pc:sldMk cId="1246628772" sldId="256"/>
            <ac:spMk id="116" creationId="{2568BC19-F052-4108-93E1-6A3D1DEC072F}"/>
          </ac:spMkLst>
        </pc:spChg>
        <pc:spChg chg="add del">
          <ac:chgData name="Annette Ysland Ludvigsen" userId="5cc2156a-4192-4fe6-8372-bcf947567e0f" providerId="ADAL" clId="{29604A7C-77EF-4D8C-A274-1EAA9DB0101B}" dt="2021-06-10T06:11:19.458" v="1590" actId="26606"/>
          <ac:spMkLst>
            <pc:docMk/>
            <pc:sldMk cId="1246628772" sldId="256"/>
            <ac:spMk id="117" creationId="{D5FD337D-4D6B-4C8B-B6F5-121097E09881}"/>
          </ac:spMkLst>
        </pc:spChg>
        <pc:spChg chg="add">
          <ac:chgData name="Annette Ysland Ludvigsen" userId="5cc2156a-4192-4fe6-8372-bcf947567e0f" providerId="ADAL" clId="{29604A7C-77EF-4D8C-A274-1EAA9DB0101B}" dt="2021-06-10T06:11:19.468" v="1591" actId="26606"/>
          <ac:spMkLst>
            <pc:docMk/>
            <pc:sldMk cId="1246628772" sldId="256"/>
            <ac:spMk id="119" creationId="{D38A241E-0395-41E5-8607-BAA2799A4374}"/>
          </ac:spMkLst>
        </pc:spChg>
        <pc:grpChg chg="add del">
          <ac:chgData name="Annette Ysland Ludvigsen" userId="5cc2156a-4192-4fe6-8372-bcf947567e0f" providerId="ADAL" clId="{29604A7C-77EF-4D8C-A274-1EAA9DB0101B}" dt="2021-06-10T06:11:04.824" v="1572" actId="26606"/>
          <ac:grpSpMkLst>
            <pc:docMk/>
            <pc:sldMk cId="1246628772" sldId="256"/>
            <ac:grpSpMk id="77" creationId="{E9B930FD-8671-4C4C-ADCF-73AC1D0CD417}"/>
          </ac:grpSpMkLst>
        </pc:grpChg>
        <pc:grpChg chg="add del">
          <ac:chgData name="Annette Ysland Ludvigsen" userId="5cc2156a-4192-4fe6-8372-bcf947567e0f" providerId="ADAL" clId="{29604A7C-77EF-4D8C-A274-1EAA9DB0101B}" dt="2021-06-10T06:11:04.824" v="1572" actId="26606"/>
          <ac:grpSpMkLst>
            <pc:docMk/>
            <pc:sldMk cId="1246628772" sldId="256"/>
            <ac:grpSpMk id="83" creationId="{383C2651-AE0C-4AE4-8725-E2F9414FE219}"/>
          </ac:grpSpMkLst>
        </pc:grpChg>
        <pc:picChg chg="add mod ord">
          <ac:chgData name="Annette Ysland Ludvigsen" userId="5cc2156a-4192-4fe6-8372-bcf947567e0f" providerId="ADAL" clId="{29604A7C-77EF-4D8C-A274-1EAA9DB0101B}" dt="2021-06-10T06:11:19.468" v="1591" actId="26606"/>
          <ac:picMkLst>
            <pc:docMk/>
            <pc:sldMk cId="1246628772" sldId="256"/>
            <ac:picMk id="4" creationId="{BAAD8A63-2146-4574-8DC1-FA6C557EA04E}"/>
          </ac:picMkLst>
        </pc:picChg>
        <pc:cxnChg chg="add">
          <ac:chgData name="Annette Ysland Ludvigsen" userId="5cc2156a-4192-4fe6-8372-bcf947567e0f" providerId="ADAL" clId="{29604A7C-77EF-4D8C-A274-1EAA9DB0101B}" dt="2021-06-10T06:11:19.468" v="1591" actId="26606"/>
          <ac:cxnSpMkLst>
            <pc:docMk/>
            <pc:sldMk cId="1246628772" sldId="256"/>
            <ac:cxnSpMk id="120" creationId="{CE352288-84AD-4CA8-BCD5-76C29D34E1DB}"/>
          </ac:cxnSpMkLst>
        </pc:cxnChg>
      </pc:sldChg>
      <pc:sldChg chg="modSp mod modTransition">
        <pc:chgData name="Annette Ysland Ludvigsen" userId="5cc2156a-4192-4fe6-8372-bcf947567e0f" providerId="ADAL" clId="{29604A7C-77EF-4D8C-A274-1EAA9DB0101B}" dt="2021-06-14T08:47:59.636" v="8477" actId="20577"/>
        <pc:sldMkLst>
          <pc:docMk/>
          <pc:sldMk cId="2013551255" sldId="257"/>
        </pc:sldMkLst>
        <pc:spChg chg="mod">
          <ac:chgData name="Annette Ysland Ludvigsen" userId="5cc2156a-4192-4fe6-8372-bcf947567e0f" providerId="ADAL" clId="{29604A7C-77EF-4D8C-A274-1EAA9DB0101B}" dt="2021-06-14T08:47:59.636" v="8477" actId="20577"/>
          <ac:spMkLst>
            <pc:docMk/>
            <pc:sldMk cId="2013551255" sldId="257"/>
            <ac:spMk id="3" creationId="{8DC01FD6-0AD1-4A5B-BAF8-D626709A700C}"/>
          </ac:spMkLst>
        </pc:spChg>
      </pc:sldChg>
      <pc:sldChg chg="addSp delSp modSp del mod delAnim modAnim">
        <pc:chgData name="Annette Ysland Ludvigsen" userId="5cc2156a-4192-4fe6-8372-bcf947567e0f" providerId="ADAL" clId="{29604A7C-77EF-4D8C-A274-1EAA9DB0101B}" dt="2021-06-09T07:24:26.012" v="1136" actId="47"/>
        <pc:sldMkLst>
          <pc:docMk/>
          <pc:sldMk cId="28632995" sldId="258"/>
        </pc:sldMkLst>
        <pc:spChg chg="del">
          <ac:chgData name="Annette Ysland Ludvigsen" userId="5cc2156a-4192-4fe6-8372-bcf947567e0f" providerId="ADAL" clId="{29604A7C-77EF-4D8C-A274-1EAA9DB0101B}" dt="2021-06-09T07:24:25.089" v="1135" actId="478"/>
          <ac:spMkLst>
            <pc:docMk/>
            <pc:sldMk cId="28632995" sldId="258"/>
            <ac:spMk id="5" creationId="{922EFF53-890B-4717-8D73-462244A51D21}"/>
          </ac:spMkLst>
        </pc:spChg>
        <pc:spChg chg="add mod">
          <ac:chgData name="Annette Ysland Ludvigsen" userId="5cc2156a-4192-4fe6-8372-bcf947567e0f" providerId="ADAL" clId="{29604A7C-77EF-4D8C-A274-1EAA9DB0101B}" dt="2021-06-09T07:04:32.233" v="137"/>
          <ac:spMkLst>
            <pc:docMk/>
            <pc:sldMk cId="28632995" sldId="258"/>
            <ac:spMk id="8" creationId="{3BB6DC0A-2F7F-4E96-9F56-E9F82F121963}"/>
          </ac:spMkLst>
        </pc:spChg>
        <pc:spChg chg="add mod">
          <ac:chgData name="Annette Ysland Ludvigsen" userId="5cc2156a-4192-4fe6-8372-bcf947567e0f" providerId="ADAL" clId="{29604A7C-77EF-4D8C-A274-1EAA9DB0101B}" dt="2021-06-09T07:08:48.374" v="199" actId="1076"/>
          <ac:spMkLst>
            <pc:docMk/>
            <pc:sldMk cId="28632995" sldId="258"/>
            <ac:spMk id="9" creationId="{93730EC1-61C4-4FD5-BA2A-89CBF38A2A01}"/>
          </ac:spMkLst>
        </pc:spChg>
        <pc:spChg chg="add mod">
          <ac:chgData name="Annette Ysland Ludvigsen" userId="5cc2156a-4192-4fe6-8372-bcf947567e0f" providerId="ADAL" clId="{29604A7C-77EF-4D8C-A274-1EAA9DB0101B}" dt="2021-06-09T07:09:24.634" v="294" actId="20577"/>
          <ac:spMkLst>
            <pc:docMk/>
            <pc:sldMk cId="28632995" sldId="258"/>
            <ac:spMk id="10" creationId="{A5B01696-D31B-4A55-9ACC-3A01873CAB1D}"/>
          </ac:spMkLst>
        </pc:spChg>
        <pc:spChg chg="add mod">
          <ac:chgData name="Annette Ysland Ludvigsen" userId="5cc2156a-4192-4fe6-8372-bcf947567e0f" providerId="ADAL" clId="{29604A7C-77EF-4D8C-A274-1EAA9DB0101B}" dt="2021-06-09T07:09:52.315" v="353" actId="20577"/>
          <ac:spMkLst>
            <pc:docMk/>
            <pc:sldMk cId="28632995" sldId="258"/>
            <ac:spMk id="11" creationId="{C2BD91B9-DBEC-48C1-8AEF-F0960D07BAC3}"/>
          </ac:spMkLst>
        </pc:spChg>
        <pc:graphicFrameChg chg="mod">
          <ac:chgData name="Annette Ysland Ludvigsen" userId="5cc2156a-4192-4fe6-8372-bcf947567e0f" providerId="ADAL" clId="{29604A7C-77EF-4D8C-A274-1EAA9DB0101B}" dt="2021-06-09T07:13:47.064" v="623" actId="20577"/>
          <ac:graphicFrameMkLst>
            <pc:docMk/>
            <pc:sldMk cId="28632995" sldId="258"/>
            <ac:graphicFrameMk id="4" creationId="{5BCA56C3-B575-40BE-A601-39C2080827AF}"/>
          </ac:graphicFrameMkLst>
        </pc:graphicFrameChg>
      </pc:sldChg>
      <pc:sldChg chg="del">
        <pc:chgData name="Annette Ysland Ludvigsen" userId="5cc2156a-4192-4fe6-8372-bcf947567e0f" providerId="ADAL" clId="{29604A7C-77EF-4D8C-A274-1EAA9DB0101B}" dt="2021-06-09T07:26:05.395" v="1157" actId="47"/>
        <pc:sldMkLst>
          <pc:docMk/>
          <pc:sldMk cId="1283825446" sldId="259"/>
        </pc:sldMkLst>
      </pc:sldChg>
      <pc:sldChg chg="del">
        <pc:chgData name="Annette Ysland Ludvigsen" userId="5cc2156a-4192-4fe6-8372-bcf947567e0f" providerId="ADAL" clId="{29604A7C-77EF-4D8C-A274-1EAA9DB0101B}" dt="2021-06-09T07:34:10.151" v="1193" actId="47"/>
        <pc:sldMkLst>
          <pc:docMk/>
          <pc:sldMk cId="2412615931" sldId="260"/>
        </pc:sldMkLst>
      </pc:sldChg>
      <pc:sldChg chg="del">
        <pc:chgData name="Annette Ysland Ludvigsen" userId="5cc2156a-4192-4fe6-8372-bcf947567e0f" providerId="ADAL" clId="{29604A7C-77EF-4D8C-A274-1EAA9DB0101B}" dt="2021-06-09T07:34:10.151" v="1193" actId="47"/>
        <pc:sldMkLst>
          <pc:docMk/>
          <pc:sldMk cId="2109296422" sldId="261"/>
        </pc:sldMkLst>
      </pc:sldChg>
      <pc:sldChg chg="del">
        <pc:chgData name="Annette Ysland Ludvigsen" userId="5cc2156a-4192-4fe6-8372-bcf947567e0f" providerId="ADAL" clId="{29604A7C-77EF-4D8C-A274-1EAA9DB0101B}" dt="2021-06-09T07:34:10.151" v="1193" actId="47"/>
        <pc:sldMkLst>
          <pc:docMk/>
          <pc:sldMk cId="887767475" sldId="262"/>
        </pc:sldMkLst>
      </pc:sldChg>
      <pc:sldChg chg="addSp delSp modSp new mod ord setBg">
        <pc:chgData name="Annette Ysland Ludvigsen" userId="5cc2156a-4192-4fe6-8372-bcf947567e0f" providerId="ADAL" clId="{29604A7C-77EF-4D8C-A274-1EAA9DB0101B}" dt="2021-06-14T09:14:50.936" v="8541" actId="20577"/>
        <pc:sldMkLst>
          <pc:docMk/>
          <pc:sldMk cId="281909073" sldId="263"/>
        </pc:sldMkLst>
        <pc:spChg chg="add mod ord">
          <ac:chgData name="Annette Ysland Ludvigsen" userId="5cc2156a-4192-4fe6-8372-bcf947567e0f" providerId="ADAL" clId="{29604A7C-77EF-4D8C-A274-1EAA9DB0101B}" dt="2021-06-10T20:17:46.277" v="4953" actId="14100"/>
          <ac:spMkLst>
            <pc:docMk/>
            <pc:sldMk cId="281909073" sldId="263"/>
            <ac:spMk id="2" creationId="{90BA2F0A-9D8F-40E4-B51B-11D526390FC5}"/>
          </ac:spMkLst>
        </pc:spChg>
        <pc:spChg chg="del mod">
          <ac:chgData name="Annette Ysland Ludvigsen" userId="5cc2156a-4192-4fe6-8372-bcf947567e0f" providerId="ADAL" clId="{29604A7C-77EF-4D8C-A274-1EAA9DB0101B}" dt="2021-06-09T07:17:29.065" v="911" actId="478"/>
          <ac:spMkLst>
            <pc:docMk/>
            <pc:sldMk cId="281909073" sldId="263"/>
            <ac:spMk id="2" creationId="{F74D8BD2-C1F9-4618-906E-BA13498BDD60}"/>
          </ac:spMkLst>
        </pc:spChg>
        <pc:spChg chg="mod">
          <ac:chgData name="Annette Ysland Ludvigsen" userId="5cc2156a-4192-4fe6-8372-bcf947567e0f" providerId="ADAL" clId="{29604A7C-77EF-4D8C-A274-1EAA9DB0101B}" dt="2021-06-14T09:14:50.936" v="8541" actId="20577"/>
          <ac:spMkLst>
            <pc:docMk/>
            <pc:sldMk cId="281909073" sldId="263"/>
            <ac:spMk id="3" creationId="{EDE1B92B-B0DF-45D1-9A50-84189FB7892D}"/>
          </ac:spMkLst>
        </pc:spChg>
        <pc:spChg chg="add del">
          <ac:chgData name="Annette Ysland Ludvigsen" userId="5cc2156a-4192-4fe6-8372-bcf947567e0f" providerId="ADAL" clId="{29604A7C-77EF-4D8C-A274-1EAA9DB0101B}" dt="2021-06-10T20:17:32.723" v="4943" actId="26606"/>
          <ac:spMkLst>
            <pc:docMk/>
            <pc:sldMk cId="281909073" sldId="263"/>
            <ac:spMk id="10" creationId="{23A58148-D452-4F6F-A2FE-EED968DE1970}"/>
          </ac:spMkLst>
        </pc:spChg>
        <pc:spChg chg="add">
          <ac:chgData name="Annette Ysland Ludvigsen" userId="5cc2156a-4192-4fe6-8372-bcf947567e0f" providerId="ADAL" clId="{29604A7C-77EF-4D8C-A274-1EAA9DB0101B}" dt="2021-06-10T20:17:32.723" v="4943" actId="26606"/>
          <ac:spMkLst>
            <pc:docMk/>
            <pc:sldMk cId="281909073" sldId="263"/>
            <ac:spMk id="15" creationId="{03AF1C04-3FEF-41BD-BB84-2F263765BEBC}"/>
          </ac:spMkLst>
        </pc:spChg>
        <pc:grpChg chg="add">
          <ac:chgData name="Annette Ysland Ludvigsen" userId="5cc2156a-4192-4fe6-8372-bcf947567e0f" providerId="ADAL" clId="{29604A7C-77EF-4D8C-A274-1EAA9DB0101B}" dt="2021-06-10T20:17:32.723" v="4943" actId="26606"/>
          <ac:grpSpMkLst>
            <pc:docMk/>
            <pc:sldMk cId="281909073" sldId="263"/>
            <ac:grpSpMk id="17" creationId="{2DD5E267-EB6F-47DF-ABEF-2C1BED44DAC6}"/>
          </ac:grpSpMkLst>
        </pc:grpChg>
        <pc:grpChg chg="add">
          <ac:chgData name="Annette Ysland Ludvigsen" userId="5cc2156a-4192-4fe6-8372-bcf947567e0f" providerId="ADAL" clId="{29604A7C-77EF-4D8C-A274-1EAA9DB0101B}" dt="2021-06-10T20:17:32.723" v="4943" actId="26606"/>
          <ac:grpSpMkLst>
            <pc:docMk/>
            <pc:sldMk cId="281909073" sldId="263"/>
            <ac:grpSpMk id="21" creationId="{66828D02-A05D-412B-9F20-B68E970B9FC2}"/>
          </ac:grpSpMkLst>
        </pc:grpChg>
        <pc:grpChg chg="add">
          <ac:chgData name="Annette Ysland Ludvigsen" userId="5cc2156a-4192-4fe6-8372-bcf947567e0f" providerId="ADAL" clId="{29604A7C-77EF-4D8C-A274-1EAA9DB0101B}" dt="2021-06-10T20:17:32.723" v="4943" actId="26606"/>
          <ac:grpSpMkLst>
            <pc:docMk/>
            <pc:sldMk cId="281909073" sldId="263"/>
            <ac:grpSpMk id="25" creationId="{E27AF472-EAE3-4572-AB69-B92BD10DBC6D}"/>
          </ac:grpSpMkLst>
        </pc:grpChg>
        <pc:picChg chg="add del mod">
          <ac:chgData name="Annette Ysland Ludvigsen" userId="5cc2156a-4192-4fe6-8372-bcf947567e0f" providerId="ADAL" clId="{29604A7C-77EF-4D8C-A274-1EAA9DB0101B}" dt="2021-06-10T20:17:33.697" v="4944" actId="478"/>
          <ac:picMkLst>
            <pc:docMk/>
            <pc:sldMk cId="281909073" sldId="263"/>
            <ac:picMk id="7" creationId="{BE8EC873-9835-4AE0-BE82-16920EBAFA91}"/>
          </ac:picMkLst>
        </pc:picChg>
      </pc:sldChg>
      <pc:sldChg chg="modSp add del">
        <pc:chgData name="Annette Ysland Ludvigsen" userId="5cc2156a-4192-4fe6-8372-bcf947567e0f" providerId="ADAL" clId="{29604A7C-77EF-4D8C-A274-1EAA9DB0101B}" dt="2021-06-09T07:15:29.883" v="724"/>
        <pc:sldMkLst>
          <pc:docMk/>
          <pc:sldMk cId="1133240073" sldId="264"/>
        </pc:sldMkLst>
        <pc:graphicFrameChg chg="mod">
          <ac:chgData name="Annette Ysland Ludvigsen" userId="5cc2156a-4192-4fe6-8372-bcf947567e0f" providerId="ADAL" clId="{29604A7C-77EF-4D8C-A274-1EAA9DB0101B}" dt="2021-06-09T07:14:36.194" v="723" actId="20577"/>
          <ac:graphicFrameMkLst>
            <pc:docMk/>
            <pc:sldMk cId="1133240073" sldId="264"/>
            <ac:graphicFrameMk id="4" creationId="{5BCA56C3-B575-40BE-A601-39C2080827AF}"/>
          </ac:graphicFrameMkLst>
        </pc:graphicFrameChg>
      </pc:sldChg>
      <pc:sldChg chg="modSp new del mod">
        <pc:chgData name="Annette Ysland Ludvigsen" userId="5cc2156a-4192-4fe6-8372-bcf947567e0f" providerId="ADAL" clId="{29604A7C-77EF-4D8C-A274-1EAA9DB0101B}" dt="2021-06-09T07:34:10.151" v="1193" actId="47"/>
        <pc:sldMkLst>
          <pc:docMk/>
          <pc:sldMk cId="2077889087" sldId="264"/>
        </pc:sldMkLst>
        <pc:spChg chg="mod">
          <ac:chgData name="Annette Ysland Ludvigsen" userId="5cc2156a-4192-4fe6-8372-bcf947567e0f" providerId="ADAL" clId="{29604A7C-77EF-4D8C-A274-1EAA9DB0101B}" dt="2021-06-09T07:24:33.263" v="1152" actId="20577"/>
          <ac:spMkLst>
            <pc:docMk/>
            <pc:sldMk cId="2077889087" sldId="264"/>
            <ac:spMk id="2" creationId="{4F8CD218-2B5B-46CE-A168-7E494D597C66}"/>
          </ac:spMkLst>
        </pc:spChg>
      </pc:sldChg>
      <pc:sldChg chg="modSp add del mod ord modTransition">
        <pc:chgData name="Annette Ysland Ludvigsen" userId="5cc2156a-4192-4fe6-8372-bcf947567e0f" providerId="ADAL" clId="{29604A7C-77EF-4D8C-A274-1EAA9DB0101B}" dt="2021-06-10T09:53:02.976" v="3389" actId="47"/>
        <pc:sldMkLst>
          <pc:docMk/>
          <pc:sldMk cId="1110618116" sldId="265"/>
        </pc:sldMkLst>
        <pc:spChg chg="mod">
          <ac:chgData name="Annette Ysland Ludvigsen" userId="5cc2156a-4192-4fe6-8372-bcf947567e0f" providerId="ADAL" clId="{29604A7C-77EF-4D8C-A274-1EAA9DB0101B}" dt="2021-06-09T07:30:54.990" v="1176" actId="14100"/>
          <ac:spMkLst>
            <pc:docMk/>
            <pc:sldMk cId="1110618116" sldId="265"/>
            <ac:spMk id="3" creationId="{00000000-0000-0000-0000-000000000000}"/>
          </ac:spMkLst>
        </pc:spChg>
        <pc:picChg chg="mod">
          <ac:chgData name="Annette Ysland Ludvigsen" userId="5cc2156a-4192-4fe6-8372-bcf947567e0f" providerId="ADAL" clId="{29604A7C-77EF-4D8C-A274-1EAA9DB0101B}" dt="2021-06-09T07:30:53.001" v="1175" actId="1076"/>
          <ac:picMkLst>
            <pc:docMk/>
            <pc:sldMk cId="1110618116" sldId="265"/>
            <ac:picMk id="6" creationId="{00000000-0000-0000-0000-000000000000}"/>
          </ac:picMkLst>
        </pc:picChg>
      </pc:sldChg>
      <pc:sldChg chg="add del ord modTransition">
        <pc:chgData name="Annette Ysland Ludvigsen" userId="5cc2156a-4192-4fe6-8372-bcf947567e0f" providerId="ADAL" clId="{29604A7C-77EF-4D8C-A274-1EAA9DB0101B}" dt="2021-06-10T19:49:03.837" v="4053" actId="47"/>
        <pc:sldMkLst>
          <pc:docMk/>
          <pc:sldMk cId="3584615649" sldId="266"/>
        </pc:sldMkLst>
      </pc:sldChg>
      <pc:sldChg chg="add del ord modTransition">
        <pc:chgData name="Annette Ysland Ludvigsen" userId="5cc2156a-4192-4fe6-8372-bcf947567e0f" providerId="ADAL" clId="{29604A7C-77EF-4D8C-A274-1EAA9DB0101B}" dt="2021-06-10T19:49:04.741" v="4054" actId="47"/>
        <pc:sldMkLst>
          <pc:docMk/>
          <pc:sldMk cId="3109161562" sldId="267"/>
        </pc:sldMkLst>
      </pc:sldChg>
      <pc:sldChg chg="add del ord modTransition">
        <pc:chgData name="Annette Ysland Ludvigsen" userId="5cc2156a-4192-4fe6-8372-bcf947567e0f" providerId="ADAL" clId="{29604A7C-77EF-4D8C-A274-1EAA9DB0101B}" dt="2021-06-10T19:46:25.968" v="4038" actId="47"/>
        <pc:sldMkLst>
          <pc:docMk/>
          <pc:sldMk cId="3369595992" sldId="268"/>
        </pc:sldMkLst>
      </pc:sldChg>
      <pc:sldChg chg="add del">
        <pc:chgData name="Annette Ysland Ludvigsen" userId="5cc2156a-4192-4fe6-8372-bcf947567e0f" providerId="ADAL" clId="{29604A7C-77EF-4D8C-A274-1EAA9DB0101B}" dt="2021-06-10T20:19:04.800" v="4961" actId="47"/>
        <pc:sldMkLst>
          <pc:docMk/>
          <pc:sldMk cId="2235129738" sldId="269"/>
        </pc:sldMkLst>
      </pc:sldChg>
      <pc:sldChg chg="add del modTransition">
        <pc:chgData name="Annette Ysland Ludvigsen" userId="5cc2156a-4192-4fe6-8372-bcf947567e0f" providerId="ADAL" clId="{29604A7C-77EF-4D8C-A274-1EAA9DB0101B}" dt="2021-06-14T06:47:36.281" v="8370" actId="47"/>
        <pc:sldMkLst>
          <pc:docMk/>
          <pc:sldMk cId="708651946" sldId="270"/>
        </pc:sldMkLst>
      </pc:sldChg>
      <pc:sldChg chg="add">
        <pc:chgData name="Annette Ysland Ludvigsen" userId="5cc2156a-4192-4fe6-8372-bcf947567e0f" providerId="ADAL" clId="{29604A7C-77EF-4D8C-A274-1EAA9DB0101B}" dt="2021-06-09T07:28:40.750" v="1169"/>
        <pc:sldMkLst>
          <pc:docMk/>
          <pc:sldMk cId="2799685735" sldId="272"/>
        </pc:sldMkLst>
      </pc:sldChg>
      <pc:sldChg chg="add">
        <pc:chgData name="Annette Ysland Ludvigsen" userId="5cc2156a-4192-4fe6-8372-bcf947567e0f" providerId="ADAL" clId="{29604A7C-77EF-4D8C-A274-1EAA9DB0101B}" dt="2021-06-09T07:28:46.428" v="1170"/>
        <pc:sldMkLst>
          <pc:docMk/>
          <pc:sldMk cId="1093552661" sldId="273"/>
        </pc:sldMkLst>
      </pc:sldChg>
      <pc:sldChg chg="add del modTransition">
        <pc:chgData name="Annette Ysland Ludvigsen" userId="5cc2156a-4192-4fe6-8372-bcf947567e0f" providerId="ADAL" clId="{29604A7C-77EF-4D8C-A274-1EAA9DB0101B}" dt="2021-06-10T06:07:28.531" v="1428" actId="47"/>
        <pc:sldMkLst>
          <pc:docMk/>
          <pc:sldMk cId="4194849979" sldId="274"/>
        </pc:sldMkLst>
      </pc:sldChg>
      <pc:sldChg chg="add del modTransition">
        <pc:chgData name="Annette Ysland Ludvigsen" userId="5cc2156a-4192-4fe6-8372-bcf947567e0f" providerId="ADAL" clId="{29604A7C-77EF-4D8C-A274-1EAA9DB0101B}" dt="2021-06-10T06:07:28.531" v="1428" actId="47"/>
        <pc:sldMkLst>
          <pc:docMk/>
          <pc:sldMk cId="831947910" sldId="275"/>
        </pc:sldMkLst>
      </pc:sldChg>
      <pc:sldChg chg="add del modTransition">
        <pc:chgData name="Annette Ysland Ludvigsen" userId="5cc2156a-4192-4fe6-8372-bcf947567e0f" providerId="ADAL" clId="{29604A7C-77EF-4D8C-A274-1EAA9DB0101B}" dt="2021-06-10T06:07:28.531" v="1428" actId="47"/>
        <pc:sldMkLst>
          <pc:docMk/>
          <pc:sldMk cId="2159446410" sldId="276"/>
        </pc:sldMkLst>
      </pc:sldChg>
      <pc:sldChg chg="new del">
        <pc:chgData name="Annette Ysland Ludvigsen" userId="5cc2156a-4192-4fe6-8372-bcf947567e0f" providerId="ADAL" clId="{29604A7C-77EF-4D8C-A274-1EAA9DB0101B}" dt="2021-06-09T07:33:27.245" v="1186" actId="680"/>
        <pc:sldMkLst>
          <pc:docMk/>
          <pc:sldMk cId="172101847" sldId="277"/>
        </pc:sldMkLst>
      </pc:sldChg>
      <pc:sldChg chg="new del">
        <pc:chgData name="Annette Ysland Ludvigsen" userId="5cc2156a-4192-4fe6-8372-bcf947567e0f" providerId="ADAL" clId="{29604A7C-77EF-4D8C-A274-1EAA9DB0101B}" dt="2021-06-09T07:33:14.485" v="1182" actId="47"/>
        <pc:sldMkLst>
          <pc:docMk/>
          <pc:sldMk cId="3051110987" sldId="277"/>
        </pc:sldMkLst>
      </pc:sldChg>
      <pc:sldChg chg="modSp add mod">
        <pc:chgData name="Annette Ysland Ludvigsen" userId="5cc2156a-4192-4fe6-8372-bcf947567e0f" providerId="ADAL" clId="{29604A7C-77EF-4D8C-A274-1EAA9DB0101B}" dt="2021-06-14T08:11:04.717" v="8464" actId="14100"/>
        <pc:sldMkLst>
          <pc:docMk/>
          <pc:sldMk cId="41577761" sldId="280"/>
        </pc:sldMkLst>
        <pc:spChg chg="mod">
          <ac:chgData name="Annette Ysland Ludvigsen" userId="5cc2156a-4192-4fe6-8372-bcf947567e0f" providerId="ADAL" clId="{29604A7C-77EF-4D8C-A274-1EAA9DB0101B}" dt="2021-06-14T08:11:01.396" v="8463" actId="1076"/>
          <ac:spMkLst>
            <pc:docMk/>
            <pc:sldMk cId="41577761" sldId="280"/>
            <ac:spMk id="28" creationId="{1B73FFB3-1691-49FF-B309-E67BFDC227E2}"/>
          </ac:spMkLst>
        </pc:spChg>
        <pc:spChg chg="mod">
          <ac:chgData name="Annette Ysland Ludvigsen" userId="5cc2156a-4192-4fe6-8372-bcf947567e0f" providerId="ADAL" clId="{29604A7C-77EF-4D8C-A274-1EAA9DB0101B}" dt="2021-06-14T08:11:04.717" v="8464" actId="14100"/>
          <ac:spMkLst>
            <pc:docMk/>
            <pc:sldMk cId="41577761" sldId="280"/>
            <ac:spMk id="112" creationId="{00000000-0000-0000-0000-000000000000}"/>
          </ac:spMkLst>
        </pc:spChg>
      </pc:sldChg>
      <pc:sldChg chg="addSp delSp modSp add mod">
        <pc:chgData name="Annette Ysland Ludvigsen" userId="5cc2156a-4192-4fe6-8372-bcf947567e0f" providerId="ADAL" clId="{29604A7C-77EF-4D8C-A274-1EAA9DB0101B}" dt="2021-06-14T06:47:09.773" v="8368" actId="478"/>
        <pc:sldMkLst>
          <pc:docMk/>
          <pc:sldMk cId="3478682997" sldId="454"/>
        </pc:sldMkLst>
        <pc:spChg chg="del mod">
          <ac:chgData name="Annette Ysland Ludvigsen" userId="5cc2156a-4192-4fe6-8372-bcf947567e0f" providerId="ADAL" clId="{29604A7C-77EF-4D8C-A274-1EAA9DB0101B}" dt="2021-06-14T06:46:29.559" v="8311" actId="478"/>
          <ac:spMkLst>
            <pc:docMk/>
            <pc:sldMk cId="3478682997" sldId="454"/>
            <ac:spMk id="3" creationId="{20DFD103-188E-4D2B-91E8-48E67D853BA9}"/>
          </ac:spMkLst>
        </pc:spChg>
        <pc:spChg chg="del mod">
          <ac:chgData name="Annette Ysland Ludvigsen" userId="5cc2156a-4192-4fe6-8372-bcf947567e0f" providerId="ADAL" clId="{29604A7C-77EF-4D8C-A274-1EAA9DB0101B}" dt="2021-06-14T06:47:09.773" v="8368" actId="478"/>
          <ac:spMkLst>
            <pc:docMk/>
            <pc:sldMk cId="3478682997" sldId="454"/>
            <ac:spMk id="7" creationId="{DA3E73F8-3653-47A6-A1B3-4680DD51B4DE}"/>
          </ac:spMkLst>
        </pc:spChg>
        <pc:spChg chg="add mod">
          <ac:chgData name="Annette Ysland Ludvigsen" userId="5cc2156a-4192-4fe6-8372-bcf947567e0f" providerId="ADAL" clId="{29604A7C-77EF-4D8C-A274-1EAA9DB0101B}" dt="2021-06-14T06:46:58.962" v="8367" actId="14100"/>
          <ac:spMkLst>
            <pc:docMk/>
            <pc:sldMk cId="3478682997" sldId="454"/>
            <ac:spMk id="8" creationId="{9F96E1A8-C4A0-44F7-9C4C-5E211DB9F004}"/>
          </ac:spMkLst>
        </pc:spChg>
        <pc:spChg chg="add del mod">
          <ac:chgData name="Annette Ysland Ludvigsen" userId="5cc2156a-4192-4fe6-8372-bcf947567e0f" providerId="ADAL" clId="{29604A7C-77EF-4D8C-A274-1EAA9DB0101B}" dt="2021-06-14T06:46:21.472" v="8308" actId="478"/>
          <ac:spMkLst>
            <pc:docMk/>
            <pc:sldMk cId="3478682997" sldId="454"/>
            <ac:spMk id="9" creationId="{A3982196-A1EF-48DC-AA5C-8B72525E4505}"/>
          </ac:spMkLst>
        </pc:spChg>
        <pc:spChg chg="add del mod">
          <ac:chgData name="Annette Ysland Ludvigsen" userId="5cc2156a-4192-4fe6-8372-bcf947567e0f" providerId="ADAL" clId="{29604A7C-77EF-4D8C-A274-1EAA9DB0101B}" dt="2021-06-14T06:46:19.752" v="8306" actId="478"/>
          <ac:spMkLst>
            <pc:docMk/>
            <pc:sldMk cId="3478682997" sldId="454"/>
            <ac:spMk id="10" creationId="{C8DD39B0-0464-4C33-98B2-20710A39434B}"/>
          </ac:spMkLst>
        </pc:spChg>
        <pc:spChg chg="add del mod">
          <ac:chgData name="Annette Ysland Ludvigsen" userId="5cc2156a-4192-4fe6-8372-bcf947567e0f" providerId="ADAL" clId="{29604A7C-77EF-4D8C-A274-1EAA9DB0101B}" dt="2021-06-14T06:46:19.059" v="8305" actId="478"/>
          <ac:spMkLst>
            <pc:docMk/>
            <pc:sldMk cId="3478682997" sldId="454"/>
            <ac:spMk id="11" creationId="{2178BB7B-2CE7-4894-A4C2-1077057D5A84}"/>
          </ac:spMkLst>
        </pc:spChg>
        <pc:spChg chg="add del mod">
          <ac:chgData name="Annette Ysland Ludvigsen" userId="5cc2156a-4192-4fe6-8372-bcf947567e0f" providerId="ADAL" clId="{29604A7C-77EF-4D8C-A274-1EAA9DB0101B}" dt="2021-06-14T06:46:31.129" v="8312" actId="478"/>
          <ac:spMkLst>
            <pc:docMk/>
            <pc:sldMk cId="3478682997" sldId="454"/>
            <ac:spMk id="14" creationId="{3C3D6291-6FB0-4DE5-A470-9418B08F47B7}"/>
          </ac:spMkLst>
        </pc:spChg>
        <pc:grpChg chg="del mod">
          <ac:chgData name="Annette Ysland Ludvigsen" userId="5cc2156a-4192-4fe6-8372-bcf947567e0f" providerId="ADAL" clId="{29604A7C-77EF-4D8C-A274-1EAA9DB0101B}" dt="2021-06-14T06:46:20.665" v="8307" actId="478"/>
          <ac:grpSpMkLst>
            <pc:docMk/>
            <pc:sldMk cId="3478682997" sldId="454"/>
            <ac:grpSpMk id="6" creationId="{D95265DD-6E69-465E-ACD0-011E654831D5}"/>
          </ac:grpSpMkLst>
        </pc:grpChg>
        <pc:picChg chg="add mod">
          <ac:chgData name="Annette Ysland Ludvigsen" userId="5cc2156a-4192-4fe6-8372-bcf947567e0f" providerId="ADAL" clId="{29604A7C-77EF-4D8C-A274-1EAA9DB0101B}" dt="2021-06-14T06:46:24.517" v="8310" actId="1076"/>
          <ac:picMkLst>
            <pc:docMk/>
            <pc:sldMk cId="3478682997" sldId="454"/>
            <ac:picMk id="12" creationId="{9547D3F7-8F16-4F3B-BBD9-6D541350A3D6}"/>
          </ac:picMkLst>
        </pc:picChg>
      </pc:sldChg>
      <pc:sldChg chg="addSp modSp add mod">
        <pc:chgData name="Annette Ysland Ludvigsen" userId="5cc2156a-4192-4fe6-8372-bcf947567e0f" providerId="ADAL" clId="{29604A7C-77EF-4D8C-A274-1EAA9DB0101B}" dt="2021-06-14T06:48:40.754" v="8433" actId="20577"/>
        <pc:sldMkLst>
          <pc:docMk/>
          <pc:sldMk cId="3042079861" sldId="465"/>
        </pc:sldMkLst>
        <pc:spChg chg="mod">
          <ac:chgData name="Annette Ysland Ludvigsen" userId="5cc2156a-4192-4fe6-8372-bcf947567e0f" providerId="ADAL" clId="{29604A7C-77EF-4D8C-A274-1EAA9DB0101B}" dt="2021-06-11T06:18:56.344" v="6553" actId="14100"/>
          <ac:spMkLst>
            <pc:docMk/>
            <pc:sldMk cId="3042079861" sldId="465"/>
            <ac:spMk id="2" creationId="{AFAC418D-4DE9-4BD9-ABCB-DF67B0C1979C}"/>
          </ac:spMkLst>
        </pc:spChg>
        <pc:spChg chg="add mod">
          <ac:chgData name="Annette Ysland Ludvigsen" userId="5cc2156a-4192-4fe6-8372-bcf947567e0f" providerId="ADAL" clId="{29604A7C-77EF-4D8C-A274-1EAA9DB0101B}" dt="2021-06-14T06:48:40.754" v="8433" actId="20577"/>
          <ac:spMkLst>
            <pc:docMk/>
            <pc:sldMk cId="3042079861" sldId="465"/>
            <ac:spMk id="27" creationId="{D539F070-FF40-47A8-8D06-F84B163230F8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3:23.900" v="1236" actId="47"/>
        <pc:sldMkLst>
          <pc:docMk/>
          <pc:sldMk cId="1767548821" sldId="468"/>
        </pc:sldMkLst>
      </pc:sldChg>
      <pc:sldChg chg="addSp delSp modSp add mod ord delAnim modAnim">
        <pc:chgData name="Annette Ysland Ludvigsen" userId="5cc2156a-4192-4fe6-8372-bcf947567e0f" providerId="ADAL" clId="{29604A7C-77EF-4D8C-A274-1EAA9DB0101B}" dt="2021-06-14T06:48:06.637" v="8379" actId="14100"/>
        <pc:sldMkLst>
          <pc:docMk/>
          <pc:sldMk cId="3041511300" sldId="469"/>
        </pc:sldMkLst>
        <pc:spChg chg="del">
          <ac:chgData name="Annette Ysland Ludvigsen" userId="5cc2156a-4192-4fe6-8372-bcf947567e0f" providerId="ADAL" clId="{29604A7C-77EF-4D8C-A274-1EAA9DB0101B}" dt="2021-06-10T19:55:43.953" v="4227" actId="478"/>
          <ac:spMkLst>
            <pc:docMk/>
            <pc:sldMk cId="3041511300" sldId="469"/>
            <ac:spMk id="2" creationId="{00000000-0000-0000-0000-000000000000}"/>
          </ac:spMkLst>
        </pc:spChg>
        <pc:spChg chg="mod">
          <ac:chgData name="Annette Ysland Ludvigsen" userId="5cc2156a-4192-4fe6-8372-bcf947567e0f" providerId="ADAL" clId="{29604A7C-77EF-4D8C-A274-1EAA9DB0101B}" dt="2021-06-10T19:55:34.081" v="4224" actId="1076"/>
          <ac:spMkLst>
            <pc:docMk/>
            <pc:sldMk cId="3041511300" sldId="469"/>
            <ac:spMk id="15" creationId="{2F08D87D-AA93-4719-8D83-A9CBE55C7217}"/>
          </ac:spMkLst>
        </pc:spChg>
        <pc:spChg chg="del">
          <ac:chgData name="Annette Ysland Ludvigsen" userId="5cc2156a-4192-4fe6-8372-bcf947567e0f" providerId="ADAL" clId="{29604A7C-77EF-4D8C-A274-1EAA9DB0101B}" dt="2021-06-10T19:52:08.109" v="4103" actId="478"/>
          <ac:spMkLst>
            <pc:docMk/>
            <pc:sldMk cId="3041511300" sldId="469"/>
            <ac:spMk id="20" creationId="{A4C526E3-05FE-409E-95CF-1D19D7C9F0BC}"/>
          </ac:spMkLst>
        </pc:spChg>
        <pc:spChg chg="del">
          <ac:chgData name="Annette Ysland Ludvigsen" userId="5cc2156a-4192-4fe6-8372-bcf947567e0f" providerId="ADAL" clId="{29604A7C-77EF-4D8C-A274-1EAA9DB0101B}" dt="2021-06-10T19:52:05.769" v="4102" actId="478"/>
          <ac:spMkLst>
            <pc:docMk/>
            <pc:sldMk cId="3041511300" sldId="469"/>
            <ac:spMk id="21" creationId="{10A4CFB1-7432-4887-810B-D15BF87F0221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22" creationId="{686EE645-A3F9-4B26-A014-3F7718A60007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23" creationId="{0FCDA274-26CF-431D-9AD7-5F8BB9BDCC3C}"/>
          </ac:spMkLst>
        </pc:spChg>
        <pc:spChg chg="del">
          <ac:chgData name="Annette Ysland Ludvigsen" userId="5cc2156a-4192-4fe6-8372-bcf947567e0f" providerId="ADAL" clId="{29604A7C-77EF-4D8C-A274-1EAA9DB0101B}" dt="2021-06-10T19:52:02.946" v="4101" actId="478"/>
          <ac:spMkLst>
            <pc:docMk/>
            <pc:sldMk cId="3041511300" sldId="469"/>
            <ac:spMk id="24" creationId="{24683808-9B8D-4F6D-9008-23BC719B07B9}"/>
          </ac:spMkLst>
        </pc:spChg>
        <pc:spChg chg="del">
          <ac:chgData name="Annette Ysland Ludvigsen" userId="5cc2156a-4192-4fe6-8372-bcf947567e0f" providerId="ADAL" clId="{29604A7C-77EF-4D8C-A274-1EAA9DB0101B}" dt="2021-06-10T19:52:29.975" v="4104" actId="478"/>
          <ac:spMkLst>
            <pc:docMk/>
            <pc:sldMk cId="3041511300" sldId="469"/>
            <ac:spMk id="25" creationId="{A21FAEDE-BFCD-4323-A41C-12670A4A8F60}"/>
          </ac:spMkLst>
        </pc:spChg>
        <pc:spChg chg="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26" creationId="{48B1303F-8A51-468B-97A7-04BAE3135D44}"/>
          </ac:spMkLst>
        </pc:spChg>
        <pc:spChg chg="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27" creationId="{5B263297-BA60-438D-A269-4FC56BE5E99E}"/>
          </ac:spMkLst>
        </pc:spChg>
        <pc:spChg chg="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29" creationId="{04BDF2FE-6D34-47BE-910E-1E8F7A5A9157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30" creationId="{EB5B0246-2045-4318-82A7-0CC4BF30DDC9}"/>
          </ac:spMkLst>
        </pc:spChg>
        <pc:spChg chg="mod">
          <ac:chgData name="Annette Ysland Ludvigsen" userId="5cc2156a-4192-4fe6-8372-bcf947567e0f" providerId="ADAL" clId="{29604A7C-77EF-4D8C-A274-1EAA9DB0101B}" dt="2021-06-10T19:55:55.288" v="4248" actId="20577"/>
          <ac:spMkLst>
            <pc:docMk/>
            <pc:sldMk cId="3041511300" sldId="469"/>
            <ac:spMk id="32" creationId="{34A33775-27E9-4990-881D-073DBC41F6B4}"/>
          </ac:spMkLst>
        </pc:spChg>
        <pc:spChg chg="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33" creationId="{0A550C01-9567-4784-A2C7-C8615E88CE2F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34" creationId="{0950F728-B01E-40D4-9BB3-3AF009965292}"/>
          </ac:spMkLst>
        </pc:spChg>
        <pc:spChg chg="mod">
          <ac:chgData name="Annette Ysland Ludvigsen" userId="5cc2156a-4192-4fe6-8372-bcf947567e0f" providerId="ADAL" clId="{29604A7C-77EF-4D8C-A274-1EAA9DB0101B}" dt="2021-06-10T19:56:09.476" v="4251" actId="1076"/>
          <ac:spMkLst>
            <pc:docMk/>
            <pc:sldMk cId="3041511300" sldId="469"/>
            <ac:spMk id="36" creationId="{07C71626-A4A9-40F4-AE5E-C1E2A0D2D501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37" creationId="{DCF6250D-8B3C-4EDA-B754-9692D5E4F27E}"/>
          </ac:spMkLst>
        </pc:spChg>
        <pc:spChg chg="add mod">
          <ac:chgData name="Annette Ysland Ludvigsen" userId="5cc2156a-4192-4fe6-8372-bcf947567e0f" providerId="ADAL" clId="{29604A7C-77EF-4D8C-A274-1EAA9DB0101B}" dt="2021-06-14T06:48:06.637" v="8379" actId="14100"/>
          <ac:spMkLst>
            <pc:docMk/>
            <pc:sldMk cId="3041511300" sldId="469"/>
            <ac:spMk id="39" creationId="{3C2B149B-79F7-48C2-82B6-152B878A9145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41" creationId="{E494736F-3693-42A0-ABB2-A75893B8A40E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42" creationId="{7BFCFE0D-9B4A-4C4B-8DDE-60EE012C8397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43" creationId="{2C7C3E5A-3707-4D8D-88E7-2BDD9181B1E3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45" creationId="{1DFD0C4B-16EB-4FD7-AD10-8101F159A1C8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46" creationId="{E28F9972-E6B7-4212-8C56-2164B12BBF3C}"/>
          </ac:spMkLst>
        </pc:spChg>
        <pc:spChg chg="add del mod">
          <ac:chgData name="Annette Ysland Ludvigsen" userId="5cc2156a-4192-4fe6-8372-bcf947567e0f" providerId="ADAL" clId="{29604A7C-77EF-4D8C-A274-1EAA9DB0101B}" dt="2021-06-10T19:51:10.316" v="4086" actId="478"/>
          <ac:spMkLst>
            <pc:docMk/>
            <pc:sldMk cId="3041511300" sldId="469"/>
            <ac:spMk id="47" creationId="{8C64EC4D-7E28-42B3-9B1C-D61DB12646D6}"/>
          </ac:spMkLst>
        </pc:spChg>
        <pc:spChg chg="add del mod">
          <ac:chgData name="Annette Ysland Ludvigsen" userId="5cc2156a-4192-4fe6-8372-bcf947567e0f" providerId="ADAL" clId="{29604A7C-77EF-4D8C-A274-1EAA9DB0101B}" dt="2021-06-10T19:51:07.829" v="4085" actId="478"/>
          <ac:spMkLst>
            <pc:docMk/>
            <pc:sldMk cId="3041511300" sldId="469"/>
            <ac:spMk id="48" creationId="{CCAF2891-59F5-40BF-9E98-BF8E2DE0EC9F}"/>
          </ac:spMkLst>
        </pc:spChg>
        <pc:spChg chg="add del mod">
          <ac:chgData name="Annette Ysland Ludvigsen" userId="5cc2156a-4192-4fe6-8372-bcf947567e0f" providerId="ADAL" clId="{29604A7C-77EF-4D8C-A274-1EAA9DB0101B}" dt="2021-06-10T19:54:43.578" v="4207" actId="478"/>
          <ac:spMkLst>
            <pc:docMk/>
            <pc:sldMk cId="3041511300" sldId="469"/>
            <ac:spMk id="49" creationId="{1825CEF4-BC7F-4B4B-A642-89E158B33992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52" creationId="{83CF58A3-E4E1-40C0-926B-6E7C154BB80B}"/>
          </ac:spMkLst>
        </pc:spChg>
        <pc:spChg chg="add mod">
          <ac:chgData name="Annette Ysland Ludvigsen" userId="5cc2156a-4192-4fe6-8372-bcf947567e0f" providerId="ADAL" clId="{29604A7C-77EF-4D8C-A274-1EAA9DB0101B}" dt="2021-06-10T19:56:07.190" v="4250" actId="1076"/>
          <ac:spMkLst>
            <pc:docMk/>
            <pc:sldMk cId="3041511300" sldId="469"/>
            <ac:spMk id="63" creationId="{1FC4195D-0F40-449E-BAD2-B97CB9F213B4}"/>
          </ac:spMkLst>
        </pc:spChg>
        <pc:spChg chg="add del mod">
          <ac:chgData name="Annette Ysland Ludvigsen" userId="5cc2156a-4192-4fe6-8372-bcf947567e0f" providerId="ADAL" clId="{29604A7C-77EF-4D8C-A274-1EAA9DB0101B}" dt="2021-06-10T19:54:42.304" v="4206" actId="478"/>
          <ac:spMkLst>
            <pc:docMk/>
            <pc:sldMk cId="3041511300" sldId="469"/>
            <ac:spMk id="64" creationId="{6500ECFA-A954-42B5-96EA-83FD886E3D36}"/>
          </ac:spMkLst>
        </pc:spChg>
        <pc:spChg chg="add del mod">
          <ac:chgData name="Annette Ysland Ludvigsen" userId="5cc2156a-4192-4fe6-8372-bcf947567e0f" providerId="ADAL" clId="{29604A7C-77EF-4D8C-A274-1EAA9DB0101B}" dt="2021-06-10T19:54:40.705" v="4205" actId="478"/>
          <ac:spMkLst>
            <pc:docMk/>
            <pc:sldMk cId="3041511300" sldId="469"/>
            <ac:spMk id="65" creationId="{FD740038-875A-406F-BAC9-A7812335096B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66" creationId="{885C2B1C-BE1D-4FD0-A072-40AD335F2E76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67" creationId="{512C7D2D-7D42-43D4-B86C-E6349BFC02FF}"/>
          </ac:spMkLst>
        </pc:spChg>
        <pc:spChg chg="add mod">
          <ac:chgData name="Annette Ysland Ludvigsen" userId="5cc2156a-4192-4fe6-8372-bcf947567e0f" providerId="ADAL" clId="{29604A7C-77EF-4D8C-A274-1EAA9DB0101B}" dt="2021-06-10T19:56:42.470" v="4254" actId="20577"/>
          <ac:spMkLst>
            <pc:docMk/>
            <pc:sldMk cId="3041511300" sldId="469"/>
            <ac:spMk id="68" creationId="{7132F1B1-EE07-44B6-B5E5-47664E8F0F56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69" creationId="{58A6FC47-1119-47DA-9D99-EE3469CAD64D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70" creationId="{86F6BF7C-03F5-4296-806B-F099B80A22F4}"/>
          </ac:spMkLst>
        </pc:spChg>
        <pc:spChg chg="add mod">
          <ac:chgData name="Annette Ysland Ludvigsen" userId="5cc2156a-4192-4fe6-8372-bcf947567e0f" providerId="ADAL" clId="{29604A7C-77EF-4D8C-A274-1EAA9DB0101B}" dt="2021-06-10T19:56:04.317" v="4249" actId="1076"/>
          <ac:spMkLst>
            <pc:docMk/>
            <pc:sldMk cId="3041511300" sldId="469"/>
            <ac:spMk id="71" creationId="{90735708-8C70-48A4-9A9B-2601ECB22F32}"/>
          </ac:spMkLst>
        </pc:spChg>
        <pc:spChg chg="add mod">
          <ac:chgData name="Annette Ysland Ludvigsen" userId="5cc2156a-4192-4fe6-8372-bcf947567e0f" providerId="ADAL" clId="{29604A7C-77EF-4D8C-A274-1EAA9DB0101B}" dt="2021-06-11T06:18:14.829" v="6551" actId="20577"/>
          <ac:spMkLst>
            <pc:docMk/>
            <pc:sldMk cId="3041511300" sldId="469"/>
            <ac:spMk id="72" creationId="{CE4A74F6-8175-46A5-AB85-5CED450243BB}"/>
          </ac:spMkLst>
        </pc:spChg>
        <pc:spChg chg="add del mod">
          <ac:chgData name="Annette Ysland Ludvigsen" userId="5cc2156a-4192-4fe6-8372-bcf947567e0f" providerId="ADAL" clId="{29604A7C-77EF-4D8C-A274-1EAA9DB0101B}" dt="2021-06-10T19:55:48.185" v="4228" actId="478"/>
          <ac:spMkLst>
            <pc:docMk/>
            <pc:sldMk cId="3041511300" sldId="469"/>
            <ac:spMk id="79" creationId="{6E662602-4034-4606-95D6-DC8DB452E9FE}"/>
          </ac:spMkLst>
        </pc:spChg>
        <pc:picChg chg="del">
          <ac:chgData name="Annette Ysland Ludvigsen" userId="5cc2156a-4192-4fe6-8372-bcf947567e0f" providerId="ADAL" clId="{29604A7C-77EF-4D8C-A274-1EAA9DB0101B}" dt="2021-06-10T19:53:23.970" v="4134" actId="478"/>
          <ac:picMkLst>
            <pc:docMk/>
            <pc:sldMk cId="3041511300" sldId="469"/>
            <ac:picMk id="4" creationId="{00000000-0000-0000-0000-000000000000}"/>
          </ac:picMkLst>
        </pc:picChg>
        <pc:picChg chg="del mod">
          <ac:chgData name="Annette Ysland Ludvigsen" userId="5cc2156a-4192-4fe6-8372-bcf947567e0f" providerId="ADAL" clId="{29604A7C-77EF-4D8C-A274-1EAA9DB0101B}" dt="2021-06-10T19:55:41.042" v="4226" actId="478"/>
          <ac:picMkLst>
            <pc:docMk/>
            <pc:sldMk cId="3041511300" sldId="469"/>
            <ac:picMk id="6" creationId="{00000000-0000-0000-0000-000000000000}"/>
          </ac:picMkLst>
        </pc:picChg>
        <pc:cxnChg chg="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10" creationId="{298D52A9-95C1-42D1-9FF5-F07329A17824}"/>
          </ac:cxnSpMkLst>
        </pc:cxnChg>
        <pc:cxnChg chg="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17" creationId="{044817AC-CED1-4DC0-91E9-31232E223AC3}"/>
          </ac:cxnSpMkLst>
        </pc:cxnChg>
        <pc:cxnChg chg="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28" creationId="{1CC3E7DB-853F-4E62-85CF-C74CF606F66F}"/>
          </ac:cxnSpMkLst>
        </pc:cxnChg>
        <pc:cxnChg chg="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31" creationId="{217B36F0-BFE0-44FB-8B1D-2CB5BCA69800}"/>
          </ac:cxnSpMkLst>
        </pc:cxnChg>
        <pc:cxnChg chg="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35" creationId="{C6B63C0E-FBC7-4116-A806-4FCC6F2A8A68}"/>
          </ac:cxnSpMkLst>
        </pc:cxnChg>
        <pc:cxnChg chg="mod">
          <ac:chgData name="Annette Ysland Ludvigsen" userId="5cc2156a-4192-4fe6-8372-bcf947567e0f" providerId="ADAL" clId="{29604A7C-77EF-4D8C-A274-1EAA9DB0101B}" dt="2021-06-10T19:56:14.317" v="4253" actId="14100"/>
          <ac:cxnSpMkLst>
            <pc:docMk/>
            <pc:sldMk cId="3041511300" sldId="469"/>
            <ac:cxnSpMk id="38" creationId="{8A6B23B7-6F02-4D86-AB2F-8B2F187A51A8}"/>
          </ac:cxnSpMkLst>
        </pc:cxnChg>
        <pc:cxnChg chg="add del mod">
          <ac:chgData name="Annette Ysland Ludvigsen" userId="5cc2156a-4192-4fe6-8372-bcf947567e0f" providerId="ADAL" clId="{29604A7C-77EF-4D8C-A274-1EAA9DB0101B}" dt="2021-06-10T19:52:33.384" v="4106" actId="478"/>
          <ac:cxnSpMkLst>
            <pc:docMk/>
            <pc:sldMk cId="3041511300" sldId="469"/>
            <ac:cxnSpMk id="39" creationId="{F95ECCF3-F9E2-4991-8EEC-C9E29C8A4618}"/>
          </ac:cxnSpMkLst>
        </pc:cxnChg>
        <pc:cxnChg chg="add del mod">
          <ac:chgData name="Annette Ysland Ludvigsen" userId="5cc2156a-4192-4fe6-8372-bcf947567e0f" providerId="ADAL" clId="{29604A7C-77EF-4D8C-A274-1EAA9DB0101B}" dt="2021-06-10T19:52:58.191" v="4114" actId="478"/>
          <ac:cxnSpMkLst>
            <pc:docMk/>
            <pc:sldMk cId="3041511300" sldId="469"/>
            <ac:cxnSpMk id="40" creationId="{B271C5DF-0F0E-4A48-9DF1-2F480A0A120C}"/>
          </ac:cxnSpMkLst>
        </pc:cxnChg>
        <pc:cxnChg chg="add mod">
          <ac:chgData name="Annette Ysland Ludvigsen" userId="5cc2156a-4192-4fe6-8372-bcf947567e0f" providerId="ADAL" clId="{29604A7C-77EF-4D8C-A274-1EAA9DB0101B}" dt="2021-06-10T19:56:04.317" v="4249" actId="1076"/>
          <ac:cxnSpMkLst>
            <pc:docMk/>
            <pc:sldMk cId="3041511300" sldId="469"/>
            <ac:cxnSpMk id="44" creationId="{6FD9CE62-FCEB-4F0B-AB74-4069C218E8A2}"/>
          </ac:cxnSpMkLst>
        </pc:cxnChg>
        <pc:cxnChg chg="add del mod">
          <ac:chgData name="Annette Ysland Ludvigsen" userId="5cc2156a-4192-4fe6-8372-bcf947567e0f" providerId="ADAL" clId="{29604A7C-77EF-4D8C-A274-1EAA9DB0101B}" dt="2021-06-10T19:53:00.018" v="4115" actId="478"/>
          <ac:cxnSpMkLst>
            <pc:docMk/>
            <pc:sldMk cId="3041511300" sldId="469"/>
            <ac:cxnSpMk id="50" creationId="{19526504-651D-4097-A64C-C531BF29E71C}"/>
          </ac:cxnSpMkLst>
        </pc:cxnChg>
        <pc:cxnChg chg="add del mod">
          <ac:chgData name="Annette Ysland Ludvigsen" userId="5cc2156a-4192-4fe6-8372-bcf947567e0f" providerId="ADAL" clId="{29604A7C-77EF-4D8C-A274-1EAA9DB0101B}" dt="2021-06-10T19:53:08.715" v="4119" actId="478"/>
          <ac:cxnSpMkLst>
            <pc:docMk/>
            <pc:sldMk cId="3041511300" sldId="469"/>
            <ac:cxnSpMk id="51" creationId="{F1DAF4F3-A23A-48D9-9C13-8AD3F35E23A0}"/>
          </ac:cxnSpMkLst>
        </pc:cxnChg>
        <pc:cxnChg chg="add del mod">
          <ac:chgData name="Annette Ysland Ludvigsen" userId="5cc2156a-4192-4fe6-8372-bcf947567e0f" providerId="ADAL" clId="{29604A7C-77EF-4D8C-A274-1EAA9DB0101B}" dt="2021-06-10T19:53:07.373" v="4118" actId="478"/>
          <ac:cxnSpMkLst>
            <pc:docMk/>
            <pc:sldMk cId="3041511300" sldId="469"/>
            <ac:cxnSpMk id="53" creationId="{D8DC2FF2-7938-480B-B41D-27B3DCCCC556}"/>
          </ac:cxnSpMkLst>
        </pc:cxnChg>
        <pc:cxnChg chg="add del mod">
          <ac:chgData name="Annette Ysland Ludvigsen" userId="5cc2156a-4192-4fe6-8372-bcf947567e0f" providerId="ADAL" clId="{29604A7C-77EF-4D8C-A274-1EAA9DB0101B}" dt="2021-06-10T19:52:31.605" v="4105" actId="478"/>
          <ac:cxnSpMkLst>
            <pc:docMk/>
            <pc:sldMk cId="3041511300" sldId="469"/>
            <ac:cxnSpMk id="54" creationId="{736D8C7A-FDAC-4706-990B-B0D8CD723C9E}"/>
          </ac:cxnSpMkLst>
        </pc:cxnChg>
        <pc:cxnChg chg="add del mod">
          <ac:chgData name="Annette Ysland Ludvigsen" userId="5cc2156a-4192-4fe6-8372-bcf947567e0f" providerId="ADAL" clId="{29604A7C-77EF-4D8C-A274-1EAA9DB0101B}" dt="2021-06-10T19:51:59.683" v="4100" actId="478"/>
          <ac:cxnSpMkLst>
            <pc:docMk/>
            <pc:sldMk cId="3041511300" sldId="469"/>
            <ac:cxnSpMk id="55" creationId="{361C79E6-61FA-4EAF-97E7-EC2C95AB0DBA}"/>
          </ac:cxnSpMkLst>
        </pc:cxnChg>
        <pc:cxnChg chg="add del mod">
          <ac:chgData name="Annette Ysland Ludvigsen" userId="5cc2156a-4192-4fe6-8372-bcf947567e0f" providerId="ADAL" clId="{29604A7C-77EF-4D8C-A274-1EAA9DB0101B}" dt="2021-06-10T19:52:56.747" v="4113" actId="478"/>
          <ac:cxnSpMkLst>
            <pc:docMk/>
            <pc:sldMk cId="3041511300" sldId="469"/>
            <ac:cxnSpMk id="56" creationId="{1F01F124-4A1E-4232-8CC6-B67ED07A36AE}"/>
          </ac:cxnSpMkLst>
        </pc:cxnChg>
        <pc:cxnChg chg="add del mod">
          <ac:chgData name="Annette Ysland Ludvigsen" userId="5cc2156a-4192-4fe6-8372-bcf947567e0f" providerId="ADAL" clId="{29604A7C-77EF-4D8C-A274-1EAA9DB0101B}" dt="2021-06-10T19:52:47.380" v="4110" actId="478"/>
          <ac:cxnSpMkLst>
            <pc:docMk/>
            <pc:sldMk cId="3041511300" sldId="469"/>
            <ac:cxnSpMk id="57" creationId="{9D92F486-96D7-40D8-9FEC-E9ED98CF506C}"/>
          </ac:cxnSpMkLst>
        </pc:cxnChg>
      </pc:sldChg>
      <pc:sldChg chg="modSp add del">
        <pc:chgData name="Annette Ysland Ludvigsen" userId="5cc2156a-4192-4fe6-8372-bcf947567e0f" providerId="ADAL" clId="{29604A7C-77EF-4D8C-A274-1EAA9DB0101B}" dt="2021-06-09T07:53:28.063" v="1238" actId="47"/>
        <pc:sldMkLst>
          <pc:docMk/>
          <pc:sldMk cId="1115932239" sldId="3489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1115932239" sldId="3489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3:30.784" v="1239" actId="47"/>
        <pc:sldMkLst>
          <pc:docMk/>
          <pc:sldMk cId="3155900209" sldId="3490"/>
        </pc:sldMkLst>
      </pc:sldChg>
      <pc:sldChg chg="add del">
        <pc:chgData name="Annette Ysland Ludvigsen" userId="5cc2156a-4192-4fe6-8372-bcf947567e0f" providerId="ADAL" clId="{29604A7C-77EF-4D8C-A274-1EAA9DB0101B}" dt="2021-06-09T07:53:01.193" v="1230" actId="47"/>
        <pc:sldMkLst>
          <pc:docMk/>
          <pc:sldMk cId="335576022" sldId="3491"/>
        </pc:sldMkLst>
      </pc:sldChg>
      <pc:sldChg chg="add del">
        <pc:chgData name="Annette Ysland Ludvigsen" userId="5cc2156a-4192-4fe6-8372-bcf947567e0f" providerId="ADAL" clId="{29604A7C-77EF-4D8C-A274-1EAA9DB0101B}" dt="2021-06-09T07:53:08.983" v="1232" actId="47"/>
        <pc:sldMkLst>
          <pc:docMk/>
          <pc:sldMk cId="1900746037" sldId="3492"/>
        </pc:sldMkLst>
      </pc:sldChg>
      <pc:sldChg chg="add del">
        <pc:chgData name="Annette Ysland Ludvigsen" userId="5cc2156a-4192-4fe6-8372-bcf947567e0f" providerId="ADAL" clId="{29604A7C-77EF-4D8C-A274-1EAA9DB0101B}" dt="2021-06-09T07:53:12.868" v="1233" actId="47"/>
        <pc:sldMkLst>
          <pc:docMk/>
          <pc:sldMk cId="3788665998" sldId="3493"/>
        </pc:sldMkLst>
      </pc:sldChg>
      <pc:sldChg chg="modSp add del">
        <pc:chgData name="Annette Ysland Ludvigsen" userId="5cc2156a-4192-4fe6-8372-bcf947567e0f" providerId="ADAL" clId="{29604A7C-77EF-4D8C-A274-1EAA9DB0101B}" dt="2021-06-09T07:53:17.792" v="1234" actId="47"/>
        <pc:sldMkLst>
          <pc:docMk/>
          <pc:sldMk cId="1814375828" sldId="3494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1814375828" sldId="3494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3:24.919" v="1237" actId="47"/>
        <pc:sldMkLst>
          <pc:docMk/>
          <pc:sldMk cId="3248658896" sldId="3496"/>
        </pc:sldMkLst>
      </pc:sldChg>
      <pc:sldChg chg="add del">
        <pc:chgData name="Annette Ysland Ludvigsen" userId="5cc2156a-4192-4fe6-8372-bcf947567e0f" providerId="ADAL" clId="{29604A7C-77EF-4D8C-A274-1EAA9DB0101B}" dt="2021-06-09T07:53:19.341" v="1235" actId="47"/>
        <pc:sldMkLst>
          <pc:docMk/>
          <pc:sldMk cId="3154255459" sldId="3497"/>
        </pc:sldMkLst>
      </pc:sldChg>
      <pc:sldChg chg="add del">
        <pc:chgData name="Annette Ysland Ludvigsen" userId="5cc2156a-4192-4fe6-8372-bcf947567e0f" providerId="ADAL" clId="{29604A7C-77EF-4D8C-A274-1EAA9DB0101B}" dt="2021-06-09T07:53:35.770" v="1241" actId="47"/>
        <pc:sldMkLst>
          <pc:docMk/>
          <pc:sldMk cId="3238682602" sldId="3498"/>
        </pc:sldMkLst>
      </pc:sldChg>
      <pc:sldChg chg="modSp add del">
        <pc:chgData name="Annette Ysland Ludvigsen" userId="5cc2156a-4192-4fe6-8372-bcf947567e0f" providerId="ADAL" clId="{29604A7C-77EF-4D8C-A274-1EAA9DB0101B}" dt="2021-06-09T07:53:07.229" v="1231" actId="47"/>
        <pc:sldMkLst>
          <pc:docMk/>
          <pc:sldMk cId="291049264" sldId="3499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291049264" sldId="3499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49:25.933" v="1213" actId="47"/>
        <pc:sldMkLst>
          <pc:docMk/>
          <pc:sldMk cId="3941335556" sldId="3502"/>
        </pc:sldMkLst>
      </pc:sldChg>
      <pc:sldChg chg="modSp add del">
        <pc:chgData name="Annette Ysland Ludvigsen" userId="5cc2156a-4192-4fe6-8372-bcf947567e0f" providerId="ADAL" clId="{29604A7C-77EF-4D8C-A274-1EAA9DB0101B}" dt="2021-06-09T07:52:57.387" v="1228" actId="47"/>
        <pc:sldMkLst>
          <pc:docMk/>
          <pc:sldMk cId="3897061913" sldId="3504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3897061913" sldId="3504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3:33.807" v="1240" actId="47"/>
        <pc:sldMkLst>
          <pc:docMk/>
          <pc:sldMk cId="163939190" sldId="3505"/>
        </pc:sldMkLst>
      </pc:sldChg>
      <pc:sldChg chg="modSp add del mod">
        <pc:chgData name="Annette Ysland Ludvigsen" userId="5cc2156a-4192-4fe6-8372-bcf947567e0f" providerId="ADAL" clId="{29604A7C-77EF-4D8C-A274-1EAA9DB0101B}" dt="2021-06-09T07:52:59.453" v="1229" actId="47"/>
        <pc:sldMkLst>
          <pc:docMk/>
          <pc:sldMk cId="3351769255" sldId="3506"/>
        </pc:sldMkLst>
        <pc:spChg chg="mod">
          <ac:chgData name="Annette Ysland Ludvigsen" userId="5cc2156a-4192-4fe6-8372-bcf947567e0f" providerId="ADAL" clId="{29604A7C-77EF-4D8C-A274-1EAA9DB0101B}" dt="2021-06-09T07:46:10.425" v="1207" actId="27636"/>
          <ac:spMkLst>
            <pc:docMk/>
            <pc:sldMk cId="3351769255" sldId="3506"/>
            <ac:spMk id="2" creationId="{DE377475-903B-48C0-8E13-85CAFA9B6EFF}"/>
          </ac:spMkLst>
        </pc:spChg>
      </pc:sldChg>
      <pc:sldChg chg="add del">
        <pc:chgData name="Annette Ysland Ludvigsen" userId="5cc2156a-4192-4fe6-8372-bcf947567e0f" providerId="ADAL" clId="{29604A7C-77EF-4D8C-A274-1EAA9DB0101B}" dt="2021-06-09T08:19:26.987" v="1384" actId="47"/>
        <pc:sldMkLst>
          <pc:docMk/>
          <pc:sldMk cId="754588174" sldId="3507"/>
        </pc:sldMkLst>
      </pc:sldChg>
      <pc:sldChg chg="modSp add del mod modTransition">
        <pc:chgData name="Annette Ysland Ludvigsen" userId="5cc2156a-4192-4fe6-8372-bcf947567e0f" providerId="ADAL" clId="{29604A7C-77EF-4D8C-A274-1EAA9DB0101B}" dt="2021-06-10T19:49:00.654" v="4052" actId="47"/>
        <pc:sldMkLst>
          <pc:docMk/>
          <pc:sldMk cId="1775120100" sldId="3508"/>
        </pc:sldMkLst>
        <pc:spChg chg="mod">
          <ac:chgData name="Annette Ysland Ludvigsen" userId="5cc2156a-4192-4fe6-8372-bcf947567e0f" providerId="ADAL" clId="{29604A7C-77EF-4D8C-A274-1EAA9DB0101B}" dt="2021-06-09T07:46:10.415" v="1206" actId="27636"/>
          <ac:spMkLst>
            <pc:docMk/>
            <pc:sldMk cId="1775120100" sldId="3508"/>
            <ac:spMk id="2" creationId="{A82572D4-923D-4D04-93D8-A6EE69F59751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1:19.800" v="1223" actId="47"/>
        <pc:sldMkLst>
          <pc:docMk/>
          <pc:sldMk cId="2626256912" sldId="3509"/>
        </pc:sldMkLst>
      </pc:sldChg>
      <pc:sldChg chg="add del ord modTransition">
        <pc:chgData name="Annette Ysland Ludvigsen" userId="5cc2156a-4192-4fe6-8372-bcf947567e0f" providerId="ADAL" clId="{29604A7C-77EF-4D8C-A274-1EAA9DB0101B}" dt="2021-06-10T19:48:11.709" v="4048" actId="47"/>
        <pc:sldMkLst>
          <pc:docMk/>
          <pc:sldMk cId="2720666338" sldId="3512"/>
        </pc:sldMkLst>
      </pc:sldChg>
      <pc:sldChg chg="add del">
        <pc:chgData name="Annette Ysland Ludvigsen" userId="5cc2156a-4192-4fe6-8372-bcf947567e0f" providerId="ADAL" clId="{29604A7C-77EF-4D8C-A274-1EAA9DB0101B}" dt="2021-06-09T07:51:26.482" v="1225" actId="47"/>
        <pc:sldMkLst>
          <pc:docMk/>
          <pc:sldMk cId="2665966213" sldId="3513"/>
        </pc:sldMkLst>
      </pc:sldChg>
      <pc:sldChg chg="add del ord">
        <pc:chgData name="Annette Ysland Ludvigsen" userId="5cc2156a-4192-4fe6-8372-bcf947567e0f" providerId="ADAL" clId="{29604A7C-77EF-4D8C-A274-1EAA9DB0101B}" dt="2021-06-14T08:46:26.841" v="8467" actId="47"/>
        <pc:sldMkLst>
          <pc:docMk/>
          <pc:sldMk cId="3780222874" sldId="3514"/>
        </pc:sldMkLst>
      </pc:sldChg>
      <pc:sldChg chg="modSp add del">
        <pc:chgData name="Annette Ysland Ludvigsen" userId="5cc2156a-4192-4fe6-8372-bcf947567e0f" providerId="ADAL" clId="{29604A7C-77EF-4D8C-A274-1EAA9DB0101B}" dt="2021-06-09T07:51:05.650" v="1220" actId="47"/>
        <pc:sldMkLst>
          <pc:docMk/>
          <pc:sldMk cId="1186371943" sldId="3515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1186371943" sldId="3515"/>
            <ac:spMk id="2" creationId="{00000000-0000-0000-0000-000000000000}"/>
          </ac:spMkLst>
        </pc:spChg>
      </pc:sldChg>
      <pc:sldChg chg="modSp add del">
        <pc:chgData name="Annette Ysland Ludvigsen" userId="5cc2156a-4192-4fe6-8372-bcf947567e0f" providerId="ADAL" clId="{29604A7C-77EF-4D8C-A274-1EAA9DB0101B}" dt="2021-06-09T07:52:25.817" v="1227" actId="47"/>
        <pc:sldMkLst>
          <pc:docMk/>
          <pc:sldMk cId="2756497965" sldId="3518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2756497965" sldId="3518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1:24.135" v="1224" actId="47"/>
        <pc:sldMkLst>
          <pc:docMk/>
          <pc:sldMk cId="234298600" sldId="3520"/>
        </pc:sldMkLst>
      </pc:sldChg>
      <pc:sldChg chg="addSp delSp modSp add del mod ord">
        <pc:chgData name="Annette Ysland Ludvigsen" userId="5cc2156a-4192-4fe6-8372-bcf947567e0f" providerId="ADAL" clId="{29604A7C-77EF-4D8C-A274-1EAA9DB0101B}" dt="2021-06-10T10:28:23.517" v="3761" actId="47"/>
        <pc:sldMkLst>
          <pc:docMk/>
          <pc:sldMk cId="854577243" sldId="3521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854577243" sldId="3521"/>
            <ac:spMk id="2" creationId="{00000000-0000-0000-0000-000000000000}"/>
          </ac:spMkLst>
        </pc:spChg>
        <pc:spChg chg="mod">
          <ac:chgData name="Annette Ysland Ludvigsen" userId="5cc2156a-4192-4fe6-8372-bcf947567e0f" providerId="ADAL" clId="{29604A7C-77EF-4D8C-A274-1EAA9DB0101B}" dt="2021-06-10T10:07:51.767" v="3600" actId="1076"/>
          <ac:spMkLst>
            <pc:docMk/>
            <pc:sldMk cId="854577243" sldId="3521"/>
            <ac:spMk id="6" creationId="{8761B2F4-2D6F-4111-9A7F-11FBF4A1D421}"/>
          </ac:spMkLst>
        </pc:spChg>
        <pc:spChg chg="mod">
          <ac:chgData name="Annette Ysland Ludvigsen" userId="5cc2156a-4192-4fe6-8372-bcf947567e0f" providerId="ADAL" clId="{29604A7C-77EF-4D8C-A274-1EAA9DB0101B}" dt="2021-06-10T10:08:20.241" v="3607" actId="1076"/>
          <ac:spMkLst>
            <pc:docMk/>
            <pc:sldMk cId="854577243" sldId="3521"/>
            <ac:spMk id="40" creationId="{38206E36-B4EF-4A4D-BB4D-8B670C96CA6A}"/>
          </ac:spMkLst>
        </pc:spChg>
        <pc:spChg chg="mod">
          <ac:chgData name="Annette Ysland Ludvigsen" userId="5cc2156a-4192-4fe6-8372-bcf947567e0f" providerId="ADAL" clId="{29604A7C-77EF-4D8C-A274-1EAA9DB0101B}" dt="2021-06-10T10:07:07.129" v="3596" actId="1076"/>
          <ac:spMkLst>
            <pc:docMk/>
            <pc:sldMk cId="854577243" sldId="3521"/>
            <ac:spMk id="53" creationId="{45659B32-B2DF-4E7C-9085-10ED1312A82F}"/>
          </ac:spMkLst>
        </pc:spChg>
        <pc:spChg chg="del mod">
          <ac:chgData name="Annette Ysland Ludvigsen" userId="5cc2156a-4192-4fe6-8372-bcf947567e0f" providerId="ADAL" clId="{29604A7C-77EF-4D8C-A274-1EAA9DB0101B}" dt="2021-06-10T10:06:03.878" v="3581" actId="478"/>
          <ac:spMkLst>
            <pc:docMk/>
            <pc:sldMk cId="854577243" sldId="3521"/>
            <ac:spMk id="72" creationId="{F5A41D21-4A29-4B53-BE2B-6E1C96B81D9B}"/>
          </ac:spMkLst>
        </pc:spChg>
        <pc:spChg chg="del mod">
          <ac:chgData name="Annette Ysland Ludvigsen" userId="5cc2156a-4192-4fe6-8372-bcf947567e0f" providerId="ADAL" clId="{29604A7C-77EF-4D8C-A274-1EAA9DB0101B}" dt="2021-06-10T10:06:02.678" v="3580" actId="478"/>
          <ac:spMkLst>
            <pc:docMk/>
            <pc:sldMk cId="854577243" sldId="3521"/>
            <ac:spMk id="73" creationId="{1A29E3F8-57B7-485B-84BF-A78B6DE3993C}"/>
          </ac:spMkLst>
        </pc:spChg>
        <pc:spChg chg="del mod">
          <ac:chgData name="Annette Ysland Ludvigsen" userId="5cc2156a-4192-4fe6-8372-bcf947567e0f" providerId="ADAL" clId="{29604A7C-77EF-4D8C-A274-1EAA9DB0101B}" dt="2021-06-10T10:06:48.439" v="3589" actId="478"/>
          <ac:spMkLst>
            <pc:docMk/>
            <pc:sldMk cId="854577243" sldId="3521"/>
            <ac:spMk id="74" creationId="{103D7516-DD05-4C25-A42E-5B19A64C3C5F}"/>
          </ac:spMkLst>
        </pc:spChg>
        <pc:spChg chg="mod">
          <ac:chgData name="Annette Ysland Ludvigsen" userId="5cc2156a-4192-4fe6-8372-bcf947567e0f" providerId="ADAL" clId="{29604A7C-77EF-4D8C-A274-1EAA9DB0101B}" dt="2021-06-10T10:07:04.818" v="3595" actId="1076"/>
          <ac:spMkLst>
            <pc:docMk/>
            <pc:sldMk cId="854577243" sldId="3521"/>
            <ac:spMk id="78" creationId="{B838E789-9CD4-4B29-A73A-DCB3286587FC}"/>
          </ac:spMkLst>
        </pc:spChg>
        <pc:spChg chg="mod">
          <ac:chgData name="Annette Ysland Ludvigsen" userId="5cc2156a-4192-4fe6-8372-bcf947567e0f" providerId="ADAL" clId="{29604A7C-77EF-4D8C-A274-1EAA9DB0101B}" dt="2021-06-10T10:07:02.678" v="3594" actId="1076"/>
          <ac:spMkLst>
            <pc:docMk/>
            <pc:sldMk cId="854577243" sldId="3521"/>
            <ac:spMk id="80" creationId="{7E1BB8D3-149F-43EC-8250-31E81417A2D2}"/>
          </ac:spMkLst>
        </pc:spChg>
        <pc:spChg chg="del mod">
          <ac:chgData name="Annette Ysland Ludvigsen" userId="5cc2156a-4192-4fe6-8372-bcf947567e0f" providerId="ADAL" clId="{29604A7C-77EF-4D8C-A274-1EAA9DB0101B}" dt="2021-06-10T10:06:46.750" v="3588" actId="478"/>
          <ac:spMkLst>
            <pc:docMk/>
            <pc:sldMk cId="854577243" sldId="3521"/>
            <ac:spMk id="81" creationId="{804F07DD-9776-4A49-B8D4-A01ABD9A632E}"/>
          </ac:spMkLst>
        </pc:spChg>
        <pc:spChg chg="mod">
          <ac:chgData name="Annette Ysland Ludvigsen" userId="5cc2156a-4192-4fe6-8372-bcf947567e0f" providerId="ADAL" clId="{29604A7C-77EF-4D8C-A274-1EAA9DB0101B}" dt="2021-06-10T10:07:17.329" v="3598" actId="1076"/>
          <ac:spMkLst>
            <pc:docMk/>
            <pc:sldMk cId="854577243" sldId="3521"/>
            <ac:spMk id="93" creationId="{8ACDD6D9-01DF-432C-B3E6-EC36AE99B8CD}"/>
          </ac:spMkLst>
        </pc:spChg>
        <pc:spChg chg="mod">
          <ac:chgData name="Annette Ysland Ludvigsen" userId="5cc2156a-4192-4fe6-8372-bcf947567e0f" providerId="ADAL" clId="{29604A7C-77EF-4D8C-A274-1EAA9DB0101B}" dt="2021-06-10T10:09:33.278" v="3628" actId="5793"/>
          <ac:spMkLst>
            <pc:docMk/>
            <pc:sldMk cId="854577243" sldId="3521"/>
            <ac:spMk id="112" creationId="{00000000-0000-0000-0000-000000000000}"/>
          </ac:spMkLst>
        </pc:spChg>
        <pc:spChg chg="mod">
          <ac:chgData name="Annette Ysland Ludvigsen" userId="5cc2156a-4192-4fe6-8372-bcf947567e0f" providerId="ADAL" clId="{29604A7C-77EF-4D8C-A274-1EAA9DB0101B}" dt="2021-06-09T10:48:56.228" v="1418" actId="1076"/>
          <ac:spMkLst>
            <pc:docMk/>
            <pc:sldMk cId="854577243" sldId="3521"/>
            <ac:spMk id="116" creationId="{1D2D21B2-F218-4F0A-BAFC-88205EAD1177}"/>
          </ac:spMkLst>
        </pc:spChg>
        <pc:cxnChg chg="del mod">
          <ac:chgData name="Annette Ysland Ludvigsen" userId="5cc2156a-4192-4fe6-8372-bcf947567e0f" providerId="ADAL" clId="{29604A7C-77EF-4D8C-A274-1EAA9DB0101B}" dt="2021-06-10T10:09:06.192" v="3614" actId="478"/>
          <ac:cxnSpMkLst>
            <pc:docMk/>
            <pc:sldMk cId="854577243" sldId="3521"/>
            <ac:cxnSpMk id="4" creationId="{905310E4-0B02-42E7-830B-57C9BCAEDE36}"/>
          </ac:cxnSpMkLst>
        </pc:cxnChg>
        <pc:cxnChg chg="mod">
          <ac:chgData name="Annette Ysland Ludvigsen" userId="5cc2156a-4192-4fe6-8372-bcf947567e0f" providerId="ADAL" clId="{29604A7C-77EF-4D8C-A274-1EAA9DB0101B}" dt="2021-06-10T10:07:51.767" v="3600" actId="1076"/>
          <ac:cxnSpMkLst>
            <pc:docMk/>
            <pc:sldMk cId="854577243" sldId="3521"/>
            <ac:cxnSpMk id="11" creationId="{54263888-368A-45E6-BFEB-186AD8DC37CE}"/>
          </ac:cxnSpMkLst>
        </pc:cxnChg>
        <pc:cxnChg chg="mod">
          <ac:chgData name="Annette Ysland Ludvigsen" userId="5cc2156a-4192-4fe6-8372-bcf947567e0f" providerId="ADAL" clId="{29604A7C-77EF-4D8C-A274-1EAA9DB0101B}" dt="2021-06-09T10:49:15.628" v="1423" actId="14100"/>
          <ac:cxnSpMkLst>
            <pc:docMk/>
            <pc:sldMk cId="854577243" sldId="3521"/>
            <ac:cxnSpMk id="26" creationId="{6586D691-4483-4C9F-8A30-7FB215EABEBC}"/>
          </ac:cxnSpMkLst>
        </pc:cxnChg>
        <pc:cxnChg chg="del mod">
          <ac:chgData name="Annette Ysland Ludvigsen" userId="5cc2156a-4192-4fe6-8372-bcf947567e0f" providerId="ADAL" clId="{29604A7C-77EF-4D8C-A274-1EAA9DB0101B}" dt="2021-06-10T10:09:11.288" v="3615" actId="478"/>
          <ac:cxnSpMkLst>
            <pc:docMk/>
            <pc:sldMk cId="854577243" sldId="3521"/>
            <ac:cxnSpMk id="41" creationId="{4DAA72CE-8F0B-4256-B28C-B67CBB6B89AC}"/>
          </ac:cxnSpMkLst>
        </pc:cxnChg>
        <pc:cxnChg chg="mod">
          <ac:chgData name="Annette Ysland Ludvigsen" userId="5cc2156a-4192-4fe6-8372-bcf947567e0f" providerId="ADAL" clId="{29604A7C-77EF-4D8C-A274-1EAA9DB0101B}" dt="2021-06-10T10:07:21.988" v="3599" actId="14100"/>
          <ac:cxnSpMkLst>
            <pc:docMk/>
            <pc:sldMk cId="854577243" sldId="3521"/>
            <ac:cxnSpMk id="44" creationId="{94FCFC6B-BCB8-4CBF-805A-035B1BAF5A95}"/>
          </ac:cxnSpMkLst>
        </pc:cxnChg>
        <pc:cxnChg chg="mod">
          <ac:chgData name="Annette Ysland Ludvigsen" userId="5cc2156a-4192-4fe6-8372-bcf947567e0f" providerId="ADAL" clId="{29604A7C-77EF-4D8C-A274-1EAA9DB0101B}" dt="2021-06-10T10:08:38.348" v="3610" actId="14100"/>
          <ac:cxnSpMkLst>
            <pc:docMk/>
            <pc:sldMk cId="854577243" sldId="3521"/>
            <ac:cxnSpMk id="48" creationId="{8B04B6B9-0AF4-4DC6-B4CE-0959EFA0AA87}"/>
          </ac:cxnSpMkLst>
        </pc:cxnChg>
        <pc:cxnChg chg="mod">
          <ac:chgData name="Annette Ysland Ludvigsen" userId="5cc2156a-4192-4fe6-8372-bcf947567e0f" providerId="ADAL" clId="{29604A7C-77EF-4D8C-A274-1EAA9DB0101B}" dt="2021-06-10T10:07:04.818" v="3595" actId="1076"/>
          <ac:cxnSpMkLst>
            <pc:docMk/>
            <pc:sldMk cId="854577243" sldId="3521"/>
            <ac:cxnSpMk id="79" creationId="{354CA0B4-0F44-48C1-A6DD-8C20C1175281}"/>
          </ac:cxnSpMkLst>
        </pc:cxnChg>
        <pc:cxnChg chg="del mod">
          <ac:chgData name="Annette Ysland Ludvigsen" userId="5cc2156a-4192-4fe6-8372-bcf947567e0f" providerId="ADAL" clId="{29604A7C-77EF-4D8C-A274-1EAA9DB0101B}" dt="2021-06-10T10:06:04.944" v="3582" actId="478"/>
          <ac:cxnSpMkLst>
            <pc:docMk/>
            <pc:sldMk cId="854577243" sldId="3521"/>
            <ac:cxnSpMk id="82" creationId="{6B3B1B01-22A7-4D85-8F7B-574A78F4E48D}"/>
          </ac:cxnSpMkLst>
        </pc:cxnChg>
        <pc:cxnChg chg="del mod">
          <ac:chgData name="Annette Ysland Ludvigsen" userId="5cc2156a-4192-4fe6-8372-bcf947567e0f" providerId="ADAL" clId="{29604A7C-77EF-4D8C-A274-1EAA9DB0101B}" dt="2021-06-10T10:06:49.712" v="3590" actId="478"/>
          <ac:cxnSpMkLst>
            <pc:docMk/>
            <pc:sldMk cId="854577243" sldId="3521"/>
            <ac:cxnSpMk id="83" creationId="{F7DCFB3E-62BA-4348-B27F-CD62E9426F62}"/>
          </ac:cxnSpMkLst>
        </pc:cxnChg>
        <pc:cxnChg chg="del mod">
          <ac:chgData name="Annette Ysland Ludvigsen" userId="5cc2156a-4192-4fe6-8372-bcf947567e0f" providerId="ADAL" clId="{29604A7C-77EF-4D8C-A274-1EAA9DB0101B}" dt="2021-06-10T10:06:51.448" v="3591" actId="478"/>
          <ac:cxnSpMkLst>
            <pc:docMk/>
            <pc:sldMk cId="854577243" sldId="3521"/>
            <ac:cxnSpMk id="85" creationId="{DA3C1311-132B-4C6D-8AFF-3ECDA6869A0D}"/>
          </ac:cxnSpMkLst>
        </pc:cxnChg>
        <pc:cxnChg chg="mod">
          <ac:chgData name="Annette Ysland Ludvigsen" userId="5cc2156a-4192-4fe6-8372-bcf947567e0f" providerId="ADAL" clId="{29604A7C-77EF-4D8C-A274-1EAA9DB0101B}" dt="2021-06-10T10:08:20.241" v="3607" actId="1076"/>
          <ac:cxnSpMkLst>
            <pc:docMk/>
            <pc:sldMk cId="854577243" sldId="3521"/>
            <ac:cxnSpMk id="88" creationId="{6DFB2549-DD3D-42DD-ABDB-A32EE82E0B3F}"/>
          </ac:cxnSpMkLst>
        </pc:cxnChg>
        <pc:cxnChg chg="mod">
          <ac:chgData name="Annette Ysland Ludvigsen" userId="5cc2156a-4192-4fe6-8372-bcf947567e0f" providerId="ADAL" clId="{29604A7C-77EF-4D8C-A274-1EAA9DB0101B}" dt="2021-06-10T10:08:20.241" v="3607" actId="1076"/>
          <ac:cxnSpMkLst>
            <pc:docMk/>
            <pc:sldMk cId="854577243" sldId="3521"/>
            <ac:cxnSpMk id="92" creationId="{4B1B2D5D-0E25-4DB4-BD6C-42A04489B326}"/>
          </ac:cxnSpMkLst>
        </pc:cxnChg>
        <pc:cxnChg chg="del mod">
          <ac:chgData name="Annette Ysland Ludvigsen" userId="5cc2156a-4192-4fe6-8372-bcf947567e0f" providerId="ADAL" clId="{29604A7C-77EF-4D8C-A274-1EAA9DB0101B}" dt="2021-06-10T10:06:06.446" v="3583" actId="478"/>
          <ac:cxnSpMkLst>
            <pc:docMk/>
            <pc:sldMk cId="854577243" sldId="3521"/>
            <ac:cxnSpMk id="99" creationId="{5C59F146-EED4-4A77-8A6B-76E95CD99070}"/>
          </ac:cxnSpMkLst>
        </pc:cxnChg>
        <pc:cxnChg chg="add del">
          <ac:chgData name="Annette Ysland Ludvigsen" userId="5cc2156a-4192-4fe6-8372-bcf947567e0f" providerId="ADAL" clId="{29604A7C-77EF-4D8C-A274-1EAA9DB0101B}" dt="2021-06-10T10:09:26.189" v="3621" actId="478"/>
          <ac:cxnSpMkLst>
            <pc:docMk/>
            <pc:sldMk cId="854577243" sldId="3521"/>
            <ac:cxnSpMk id="100" creationId="{AF18A1AC-9F2D-455F-BD6D-A196F89D7FF2}"/>
          </ac:cxnSpMkLst>
        </pc:cxnChg>
        <pc:cxnChg chg="del">
          <ac:chgData name="Annette Ysland Ludvigsen" userId="5cc2156a-4192-4fe6-8372-bcf947567e0f" providerId="ADAL" clId="{29604A7C-77EF-4D8C-A274-1EAA9DB0101B}" dt="2021-06-10T10:08:58.909" v="3612" actId="478"/>
          <ac:cxnSpMkLst>
            <pc:docMk/>
            <pc:sldMk cId="854577243" sldId="3521"/>
            <ac:cxnSpMk id="107" creationId="{867F0CC5-B63E-463B-A9AC-19FC90385BF0}"/>
          </ac:cxnSpMkLst>
        </pc:cxnChg>
        <pc:cxnChg chg="del mod">
          <ac:chgData name="Annette Ysland Ludvigsen" userId="5cc2156a-4192-4fe6-8372-bcf947567e0f" providerId="ADAL" clId="{29604A7C-77EF-4D8C-A274-1EAA9DB0101B}" dt="2021-06-10T10:09:15.273" v="3616" actId="478"/>
          <ac:cxnSpMkLst>
            <pc:docMk/>
            <pc:sldMk cId="854577243" sldId="3521"/>
            <ac:cxnSpMk id="111" creationId="{CD1E2E20-D7CE-41BB-917C-A0F80D71311C}"/>
          </ac:cxnSpMkLst>
        </pc:cxnChg>
        <pc:cxnChg chg="del">
          <ac:chgData name="Annette Ysland Ludvigsen" userId="5cc2156a-4192-4fe6-8372-bcf947567e0f" providerId="ADAL" clId="{29604A7C-77EF-4D8C-A274-1EAA9DB0101B}" dt="2021-06-10T10:09:18.680" v="3619" actId="478"/>
          <ac:cxnSpMkLst>
            <pc:docMk/>
            <pc:sldMk cId="854577243" sldId="3521"/>
            <ac:cxnSpMk id="118" creationId="{795AB7DA-11AF-4C05-8AD8-3ED96F259337}"/>
          </ac:cxnSpMkLst>
        </pc:cxnChg>
        <pc:cxnChg chg="del">
          <ac:chgData name="Annette Ysland Ludvigsen" userId="5cc2156a-4192-4fe6-8372-bcf947567e0f" providerId="ADAL" clId="{29604A7C-77EF-4D8C-A274-1EAA9DB0101B}" dt="2021-06-10T10:08:53.618" v="3611" actId="478"/>
          <ac:cxnSpMkLst>
            <pc:docMk/>
            <pc:sldMk cId="854577243" sldId="3521"/>
            <ac:cxnSpMk id="120" creationId="{36328714-4640-411E-89A2-5A89C728CA9E}"/>
          </ac:cxnSpMkLst>
        </pc:cxnChg>
        <pc:cxnChg chg="mod">
          <ac:chgData name="Annette Ysland Ludvigsen" userId="5cc2156a-4192-4fe6-8372-bcf947567e0f" providerId="ADAL" clId="{29604A7C-77EF-4D8C-A274-1EAA9DB0101B}" dt="2021-06-10T10:07:07.129" v="3596" actId="1076"/>
          <ac:cxnSpMkLst>
            <pc:docMk/>
            <pc:sldMk cId="854577243" sldId="3521"/>
            <ac:cxnSpMk id="121" creationId="{536CDFF2-B53D-407B-91C5-E9A5FD3CBE17}"/>
          </ac:cxnSpMkLst>
        </pc:cxnChg>
        <pc:cxnChg chg="del">
          <ac:chgData name="Annette Ysland Ludvigsen" userId="5cc2156a-4192-4fe6-8372-bcf947567e0f" providerId="ADAL" clId="{29604A7C-77EF-4D8C-A274-1EAA9DB0101B}" dt="2021-06-10T10:09:17.109" v="3618" actId="478"/>
          <ac:cxnSpMkLst>
            <pc:docMk/>
            <pc:sldMk cId="854577243" sldId="3521"/>
            <ac:cxnSpMk id="125" creationId="{AFAA347D-8B7A-481A-A88E-7FA2CA3B4FCB}"/>
          </ac:cxnSpMkLst>
        </pc:cxnChg>
        <pc:cxnChg chg="del">
          <ac:chgData name="Annette Ysland Ludvigsen" userId="5cc2156a-4192-4fe6-8372-bcf947567e0f" providerId="ADAL" clId="{29604A7C-77EF-4D8C-A274-1EAA9DB0101B}" dt="2021-06-10T10:09:16.108" v="3617" actId="478"/>
          <ac:cxnSpMkLst>
            <pc:docMk/>
            <pc:sldMk cId="854577243" sldId="3521"/>
            <ac:cxnSpMk id="127" creationId="{A1ED4641-0A81-4F6B-876A-80F67F751195}"/>
          </ac:cxnSpMkLst>
        </pc:cxnChg>
        <pc:cxnChg chg="del mod">
          <ac:chgData name="Annette Ysland Ludvigsen" userId="5cc2156a-4192-4fe6-8372-bcf947567e0f" providerId="ADAL" clId="{29604A7C-77EF-4D8C-A274-1EAA9DB0101B}" dt="2021-06-10T10:09:02.579" v="3613" actId="478"/>
          <ac:cxnSpMkLst>
            <pc:docMk/>
            <pc:sldMk cId="854577243" sldId="3521"/>
            <ac:cxnSpMk id="141" creationId="{DC3D8EAD-8298-4DEC-94EE-3574FFD3F00D}"/>
          </ac:cxnSpMkLst>
        </pc:cxnChg>
      </pc:sldChg>
      <pc:sldChg chg="modSp add del ord modTransition">
        <pc:chgData name="Annette Ysland Ludvigsen" userId="5cc2156a-4192-4fe6-8372-bcf947567e0f" providerId="ADAL" clId="{29604A7C-77EF-4D8C-A274-1EAA9DB0101B}" dt="2021-06-10T19:48:59.256" v="4051" actId="47"/>
        <pc:sldMkLst>
          <pc:docMk/>
          <pc:sldMk cId="3137156187" sldId="3522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3137156187" sldId="3522"/>
            <ac:spMk id="2" creationId="{00000000-0000-0000-0000-000000000000}"/>
          </ac:spMkLst>
        </pc:spChg>
      </pc:sldChg>
      <pc:sldChg chg="modSp add del">
        <pc:chgData name="Annette Ysland Ludvigsen" userId="5cc2156a-4192-4fe6-8372-bcf947567e0f" providerId="ADAL" clId="{29604A7C-77EF-4D8C-A274-1EAA9DB0101B}" dt="2021-06-09T07:50:18.502" v="1217" actId="47"/>
        <pc:sldMkLst>
          <pc:docMk/>
          <pc:sldMk cId="2963448392" sldId="3523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2963448392" sldId="3523"/>
            <ac:spMk id="2" creationId="{00000000-0000-0000-0000-000000000000}"/>
          </ac:spMkLst>
        </pc:spChg>
      </pc:sldChg>
      <pc:sldChg chg="add del modTransition">
        <pc:chgData name="Annette Ysland Ludvigsen" userId="5cc2156a-4192-4fe6-8372-bcf947567e0f" providerId="ADAL" clId="{29604A7C-77EF-4D8C-A274-1EAA9DB0101B}" dt="2021-06-10T19:47:52.458" v="4047" actId="47"/>
        <pc:sldMkLst>
          <pc:docMk/>
          <pc:sldMk cId="4045166981" sldId="3524"/>
        </pc:sldMkLst>
      </pc:sldChg>
      <pc:sldChg chg="add del ord">
        <pc:chgData name="Annette Ysland Ludvigsen" userId="5cc2156a-4192-4fe6-8372-bcf947567e0f" providerId="ADAL" clId="{29604A7C-77EF-4D8C-A274-1EAA9DB0101B}" dt="2021-06-09T07:55:46.314" v="1257" actId="47"/>
        <pc:sldMkLst>
          <pc:docMk/>
          <pc:sldMk cId="3043248974" sldId="3525"/>
        </pc:sldMkLst>
      </pc:sldChg>
      <pc:sldChg chg="add del ord">
        <pc:chgData name="Annette Ysland Ludvigsen" userId="5cc2156a-4192-4fe6-8372-bcf947567e0f" providerId="ADAL" clId="{29604A7C-77EF-4D8C-A274-1EAA9DB0101B}" dt="2021-06-09T08:04:43.680" v="1286" actId="47"/>
        <pc:sldMkLst>
          <pc:docMk/>
          <pc:sldMk cId="3630616830" sldId="3526"/>
        </pc:sldMkLst>
      </pc:sldChg>
      <pc:sldChg chg="add del">
        <pc:chgData name="Annette Ysland Ludvigsen" userId="5cc2156a-4192-4fe6-8372-bcf947567e0f" providerId="ADAL" clId="{29604A7C-77EF-4D8C-A274-1EAA9DB0101B}" dt="2021-06-09T07:54:44.100" v="1248" actId="47"/>
        <pc:sldMkLst>
          <pc:docMk/>
          <pc:sldMk cId="3113096783" sldId="3527"/>
        </pc:sldMkLst>
      </pc:sldChg>
      <pc:sldChg chg="add del">
        <pc:chgData name="Annette Ysland Ludvigsen" userId="5cc2156a-4192-4fe6-8372-bcf947567e0f" providerId="ADAL" clId="{29604A7C-77EF-4D8C-A274-1EAA9DB0101B}" dt="2021-06-09T07:46:27.271" v="1208" actId="47"/>
        <pc:sldMkLst>
          <pc:docMk/>
          <pc:sldMk cId="2676367507" sldId="3528"/>
        </pc:sldMkLst>
      </pc:sldChg>
      <pc:sldChg chg="addSp delSp modSp add del mod ord modTransition modAnim">
        <pc:chgData name="Annette Ysland Ludvigsen" userId="5cc2156a-4192-4fe6-8372-bcf947567e0f" providerId="ADAL" clId="{29604A7C-77EF-4D8C-A274-1EAA9DB0101B}" dt="2021-06-14T06:09:58.660" v="8244" actId="47"/>
        <pc:sldMkLst>
          <pc:docMk/>
          <pc:sldMk cId="243299830" sldId="3531"/>
        </pc:sldMkLst>
        <pc:spChg chg="del mod">
          <ac:chgData name="Annette Ysland Ludvigsen" userId="5cc2156a-4192-4fe6-8372-bcf947567e0f" providerId="ADAL" clId="{29604A7C-77EF-4D8C-A274-1EAA9DB0101B}" dt="2021-06-09T08:16:55.138" v="1362" actId="478"/>
          <ac:spMkLst>
            <pc:docMk/>
            <pc:sldMk cId="243299830" sldId="3531"/>
            <ac:spMk id="2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11T05:59:41.090" v="6241" actId="478"/>
          <ac:spMkLst>
            <pc:docMk/>
            <pc:sldMk cId="243299830" sldId="3531"/>
            <ac:spMk id="8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11T05:59:31.726" v="6240" actId="478"/>
          <ac:spMkLst>
            <pc:docMk/>
            <pc:sldMk cId="243299830" sldId="3531"/>
            <ac:spMk id="10" creationId="{00000000-0000-0000-0000-000000000000}"/>
          </ac:spMkLst>
        </pc:spChg>
        <pc:spChg chg="add mod">
          <ac:chgData name="Annette Ysland Ludvigsen" userId="5cc2156a-4192-4fe6-8372-bcf947567e0f" providerId="ADAL" clId="{29604A7C-77EF-4D8C-A274-1EAA9DB0101B}" dt="2021-06-10T20:07:28.186" v="4513" actId="14100"/>
          <ac:spMkLst>
            <pc:docMk/>
            <pc:sldMk cId="243299830" sldId="3531"/>
            <ac:spMk id="17" creationId="{0819A90D-C4B5-4756-A1AF-3F9FF9FBB607}"/>
          </ac:spMkLst>
        </pc:spChg>
        <pc:spChg chg="mod ord">
          <ac:chgData name="Annette Ysland Ludvigsen" userId="5cc2156a-4192-4fe6-8372-bcf947567e0f" providerId="ADAL" clId="{29604A7C-77EF-4D8C-A274-1EAA9DB0101B}" dt="2021-06-11T05:58:37.494" v="6230" actId="1076"/>
          <ac:spMkLst>
            <pc:docMk/>
            <pc:sldMk cId="243299830" sldId="3531"/>
            <ac:spMk id="57" creationId="{1BF09D51-8D62-496B-ABE2-0E5ACA8BD519}"/>
          </ac:spMkLst>
        </pc:spChg>
        <pc:spChg chg="add mod ord">
          <ac:chgData name="Annette Ysland Ludvigsen" userId="5cc2156a-4192-4fe6-8372-bcf947567e0f" providerId="ADAL" clId="{29604A7C-77EF-4D8C-A274-1EAA9DB0101B}" dt="2021-06-10T20:07:24.748" v="4512" actId="166"/>
          <ac:spMkLst>
            <pc:docMk/>
            <pc:sldMk cId="243299830" sldId="3531"/>
            <ac:spMk id="59" creationId="{28300262-01E5-4B34-B283-359BD22C7977}"/>
          </ac:spMkLst>
        </pc:spChg>
        <pc:spChg chg="mod ord">
          <ac:chgData name="Annette Ysland Ludvigsen" userId="5cc2156a-4192-4fe6-8372-bcf947567e0f" providerId="ADAL" clId="{29604A7C-77EF-4D8C-A274-1EAA9DB0101B}" dt="2021-06-11T05:58:28.971" v="6227" actId="1076"/>
          <ac:spMkLst>
            <pc:docMk/>
            <pc:sldMk cId="243299830" sldId="3531"/>
            <ac:spMk id="67" creationId="{64CFB0FE-4E40-498C-8970-ECE93AE72213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0" creationId="{30F2018B-DE65-4978-A5ED-9901231BB7BA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1" creationId="{E433287F-9E5F-496F-B5F2-1181BB7B19CD}"/>
          </ac:spMkLst>
        </pc:spChg>
        <pc:spChg chg="del">
          <ac:chgData name="Annette Ysland Ludvigsen" userId="5cc2156a-4192-4fe6-8372-bcf947567e0f" providerId="ADAL" clId="{29604A7C-77EF-4D8C-A274-1EAA9DB0101B}" dt="2021-06-11T05:55:25.346" v="6160" actId="478"/>
          <ac:spMkLst>
            <pc:docMk/>
            <pc:sldMk cId="243299830" sldId="3531"/>
            <ac:spMk id="72" creationId="{9C2228B8-507D-48F5-9062-C4469F7313EF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3" creationId="{3C8E996B-C2EE-4EF1-9CC7-9F275518F79C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4" creationId="{BBA67971-062E-4A76-825E-7969CC92093D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5" creationId="{DB824F08-715C-4421-9E94-E123B705884C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6" creationId="{4B61D263-1F78-4E22-B620-76379F6EFBA0}"/>
          </ac:spMkLst>
        </pc:spChg>
        <pc:spChg chg="add mod">
          <ac:chgData name="Annette Ysland Ludvigsen" userId="5cc2156a-4192-4fe6-8372-bcf947567e0f" providerId="ADAL" clId="{29604A7C-77EF-4D8C-A274-1EAA9DB0101B}" dt="2021-06-10T19:47:37.918" v="4044" actId="571"/>
          <ac:spMkLst>
            <pc:docMk/>
            <pc:sldMk cId="243299830" sldId="3531"/>
            <ac:spMk id="79" creationId="{6FD77060-E30E-4759-9E77-2ACCD7769492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1" creationId="{FE5898A7-8E4A-4EA5-A594-F57F428724D5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3" creationId="{F8F02F29-B72D-4E13-8B15-030A88975814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4" creationId="{107635E1-B64C-4968-90D5-3D9B06CB7A6F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5" creationId="{269607F7-AC34-4FFA-8151-52E5006A81EA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6" creationId="{4545B2A3-BE2A-4BBE-BF40-507A9EB18E57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7" creationId="{0FFCF91D-3184-46FB-AF54-1A8A6951A00C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8" creationId="{1302389C-C675-451E-8E78-B29ADB2F49F2}"/>
          </ac:spMkLst>
        </pc:spChg>
        <pc:spChg chg="add mod">
          <ac:chgData name="Annette Ysland Ludvigsen" userId="5cc2156a-4192-4fe6-8372-bcf947567e0f" providerId="ADAL" clId="{29604A7C-77EF-4D8C-A274-1EAA9DB0101B}" dt="2021-06-10T19:47:42.513" v="4046" actId="207"/>
          <ac:spMkLst>
            <pc:docMk/>
            <pc:sldMk cId="243299830" sldId="3531"/>
            <ac:spMk id="89" creationId="{40F21A75-DD04-4858-BE95-78410614F551}"/>
          </ac:spMkLst>
        </pc:spChg>
        <pc:spChg chg="add mod">
          <ac:chgData name="Annette Ysland Ludvigsen" userId="5cc2156a-4192-4fe6-8372-bcf947567e0f" providerId="ADAL" clId="{29604A7C-77EF-4D8C-A274-1EAA9DB0101B}" dt="2021-06-10T20:06:06.247" v="4497" actId="571"/>
          <ac:spMkLst>
            <pc:docMk/>
            <pc:sldMk cId="243299830" sldId="3531"/>
            <ac:spMk id="92" creationId="{1742E2E6-98FE-4634-8FD6-54E1F968ECE7}"/>
          </ac:spMkLst>
        </pc:spChg>
        <pc:spChg chg="add del">
          <ac:chgData name="Annette Ysland Ludvigsen" userId="5cc2156a-4192-4fe6-8372-bcf947567e0f" providerId="ADAL" clId="{29604A7C-77EF-4D8C-A274-1EAA9DB0101B}" dt="2021-06-11T05:58:21.539" v="6224" actId="478"/>
          <ac:spMkLst>
            <pc:docMk/>
            <pc:sldMk cId="243299830" sldId="3531"/>
            <ac:spMk id="93" creationId="{FEA7E569-36DC-4A37-B6FB-00F883BC0931}"/>
          </ac:spMkLst>
        </pc:spChg>
        <pc:spChg chg="add mod">
          <ac:chgData name="Annette Ysland Ludvigsen" userId="5cc2156a-4192-4fe6-8372-bcf947567e0f" providerId="ADAL" clId="{29604A7C-77EF-4D8C-A274-1EAA9DB0101B}" dt="2021-06-10T20:06:06.247" v="4497" actId="571"/>
          <ac:spMkLst>
            <pc:docMk/>
            <pc:sldMk cId="243299830" sldId="3531"/>
            <ac:spMk id="96" creationId="{9514B870-92A3-4B68-90F2-3F7C92FC6951}"/>
          </ac:spMkLst>
        </pc:spChg>
        <pc:spChg chg="add mod ord">
          <ac:chgData name="Annette Ysland Ludvigsen" userId="5cc2156a-4192-4fe6-8372-bcf947567e0f" providerId="ADAL" clId="{29604A7C-77EF-4D8C-A274-1EAA9DB0101B}" dt="2021-06-11T05:58:52.943" v="6236" actId="1076"/>
          <ac:spMkLst>
            <pc:docMk/>
            <pc:sldMk cId="243299830" sldId="3531"/>
            <ac:spMk id="97" creationId="{7A186F84-5B47-4AE6-BBC6-FA55288B7436}"/>
          </ac:spMkLst>
        </pc:spChg>
        <pc:spChg chg="add mod ord">
          <ac:chgData name="Annette Ysland Ludvigsen" userId="5cc2156a-4192-4fe6-8372-bcf947567e0f" providerId="ADAL" clId="{29604A7C-77EF-4D8C-A274-1EAA9DB0101B}" dt="2021-06-11T05:58:46.199" v="6233" actId="1076"/>
          <ac:spMkLst>
            <pc:docMk/>
            <pc:sldMk cId="243299830" sldId="3531"/>
            <ac:spMk id="99" creationId="{0E2332CE-20F1-4A3E-985E-FDE14F6CF7B1}"/>
          </ac:spMkLst>
        </pc:spChg>
        <pc:spChg chg="add mod ord">
          <ac:chgData name="Annette Ysland Ludvigsen" userId="5cc2156a-4192-4fe6-8372-bcf947567e0f" providerId="ADAL" clId="{29604A7C-77EF-4D8C-A274-1EAA9DB0101B}" dt="2021-06-11T05:58:34.076" v="6229" actId="1076"/>
          <ac:spMkLst>
            <pc:docMk/>
            <pc:sldMk cId="243299830" sldId="3531"/>
            <ac:spMk id="100" creationId="{C4791C84-6DF7-4267-BD5E-D30E79CDDD26}"/>
          </ac:spMkLst>
        </pc:spChg>
        <pc:spChg chg="add mod ord">
          <ac:chgData name="Annette Ysland Ludvigsen" userId="5cc2156a-4192-4fe6-8372-bcf947567e0f" providerId="ADAL" clId="{29604A7C-77EF-4D8C-A274-1EAA9DB0101B}" dt="2021-06-11T05:58:44.106" v="6232" actId="1076"/>
          <ac:spMkLst>
            <pc:docMk/>
            <pc:sldMk cId="243299830" sldId="3531"/>
            <ac:spMk id="101" creationId="{8BB20688-9BA3-465F-8845-AE7F67D6CC22}"/>
          </ac:spMkLst>
        </pc:spChg>
        <pc:spChg chg="del">
          <ac:chgData name="Annette Ysland Ludvigsen" userId="5cc2156a-4192-4fe6-8372-bcf947567e0f" providerId="ADAL" clId="{29604A7C-77EF-4D8C-A274-1EAA9DB0101B}" dt="2021-06-11T05:55:14.470" v="6156" actId="478"/>
          <ac:spMkLst>
            <pc:docMk/>
            <pc:sldMk cId="243299830" sldId="3531"/>
            <ac:spMk id="102" creationId="{51689D25-2CD0-43E8-A789-36AA972C4288}"/>
          </ac:spMkLst>
        </pc:spChg>
        <pc:spChg chg="add mod ord">
          <ac:chgData name="Annette Ysland Ludvigsen" userId="5cc2156a-4192-4fe6-8372-bcf947567e0f" providerId="ADAL" clId="{29604A7C-77EF-4D8C-A274-1EAA9DB0101B}" dt="2021-06-11T05:58:50.943" v="6235" actId="1076"/>
          <ac:spMkLst>
            <pc:docMk/>
            <pc:sldMk cId="243299830" sldId="3531"/>
            <ac:spMk id="103" creationId="{BACB0D7D-3C28-475E-94FD-F647B5DB4153}"/>
          </ac:spMkLst>
        </pc:spChg>
        <pc:spChg chg="add mod ord">
          <ac:chgData name="Annette Ysland Ludvigsen" userId="5cc2156a-4192-4fe6-8372-bcf947567e0f" providerId="ADAL" clId="{29604A7C-77EF-4D8C-A274-1EAA9DB0101B}" dt="2021-06-11T05:58:48.370" v="6234" actId="1076"/>
          <ac:spMkLst>
            <pc:docMk/>
            <pc:sldMk cId="243299830" sldId="3531"/>
            <ac:spMk id="104" creationId="{86BB1AD9-2485-4188-B5D6-CF352A933B2B}"/>
          </ac:spMkLst>
        </pc:spChg>
        <pc:spChg chg="add mod ord">
          <ac:chgData name="Annette Ysland Ludvigsen" userId="5cc2156a-4192-4fe6-8372-bcf947567e0f" providerId="ADAL" clId="{29604A7C-77EF-4D8C-A274-1EAA9DB0101B}" dt="2021-06-11T05:58:40.552" v="6231" actId="1076"/>
          <ac:spMkLst>
            <pc:docMk/>
            <pc:sldMk cId="243299830" sldId="3531"/>
            <ac:spMk id="105" creationId="{19DA5BDA-0A39-4FC4-BD62-0CF720FABA95}"/>
          </ac:spMkLst>
        </pc:spChg>
        <pc:spChg chg="ord">
          <ac:chgData name="Annette Ysland Ludvigsen" userId="5cc2156a-4192-4fe6-8372-bcf947567e0f" providerId="ADAL" clId="{29604A7C-77EF-4D8C-A274-1EAA9DB0101B}" dt="2021-06-11T06:01:01.107" v="6251" actId="166"/>
          <ac:spMkLst>
            <pc:docMk/>
            <pc:sldMk cId="243299830" sldId="3531"/>
            <ac:spMk id="108" creationId="{C6D0F064-68FD-40B3-8B12-5371298BF739}"/>
          </ac:spMkLst>
        </pc:spChg>
        <pc:spChg chg="mod">
          <ac:chgData name="Annette Ysland Ludvigsen" userId="5cc2156a-4192-4fe6-8372-bcf947567e0f" providerId="ADAL" clId="{29604A7C-77EF-4D8C-A274-1EAA9DB0101B}" dt="2021-06-10T10:28:02.517" v="3756" actId="20577"/>
          <ac:spMkLst>
            <pc:docMk/>
            <pc:sldMk cId="243299830" sldId="3531"/>
            <ac:spMk id="112" creationId="{00000000-0000-0000-0000-000000000000}"/>
          </ac:spMkLst>
        </pc:spChg>
        <pc:spChg chg="ord">
          <ac:chgData name="Annette Ysland Ludvigsen" userId="5cc2156a-4192-4fe6-8372-bcf947567e0f" providerId="ADAL" clId="{29604A7C-77EF-4D8C-A274-1EAA9DB0101B}" dt="2021-06-11T06:01:01.107" v="6251" actId="166"/>
          <ac:spMkLst>
            <pc:docMk/>
            <pc:sldMk cId="243299830" sldId="3531"/>
            <ac:spMk id="128" creationId="{9C31A1D1-5D02-4D32-AEF1-4EB896A5DAD0}"/>
          </ac:spMkLst>
        </pc:spChg>
        <pc:spChg chg="add del">
          <ac:chgData name="Annette Ysland Ludvigsen" userId="5cc2156a-4192-4fe6-8372-bcf947567e0f" providerId="ADAL" clId="{29604A7C-77EF-4D8C-A274-1EAA9DB0101B}" dt="2021-06-11T05:58:16.246" v="6220" actId="478"/>
          <ac:spMkLst>
            <pc:docMk/>
            <pc:sldMk cId="243299830" sldId="3531"/>
            <ac:spMk id="135" creationId="{0617F478-1EBD-487B-8348-934E5857A763}"/>
          </ac:spMkLst>
        </pc:spChg>
        <pc:spChg chg="add del mod">
          <ac:chgData name="Annette Ysland Ludvigsen" userId="5cc2156a-4192-4fe6-8372-bcf947567e0f" providerId="ADAL" clId="{29604A7C-77EF-4D8C-A274-1EAA9DB0101B}" dt="2021-06-11T05:58:05.266" v="6215" actId="478"/>
          <ac:spMkLst>
            <pc:docMk/>
            <pc:sldMk cId="243299830" sldId="3531"/>
            <ac:spMk id="136" creationId="{2759094F-6C67-4041-A373-14CB6A218D48}"/>
          </ac:spMkLst>
        </pc:spChg>
        <pc:spChg chg="ord">
          <ac:chgData name="Annette Ysland Ludvigsen" userId="5cc2156a-4192-4fe6-8372-bcf947567e0f" providerId="ADAL" clId="{29604A7C-77EF-4D8C-A274-1EAA9DB0101B}" dt="2021-06-11T05:59:18.835" v="6239" actId="166"/>
          <ac:spMkLst>
            <pc:docMk/>
            <pc:sldMk cId="243299830" sldId="3531"/>
            <ac:spMk id="142" creationId="{D4EC96C8-27FE-485C-AA7D-3309C77E900A}"/>
          </ac:spMkLst>
        </pc:spChg>
        <pc:spChg chg="ord">
          <ac:chgData name="Annette Ysland Ludvigsen" userId="5cc2156a-4192-4fe6-8372-bcf947567e0f" providerId="ADAL" clId="{29604A7C-77EF-4D8C-A274-1EAA9DB0101B}" dt="2021-06-11T06:01:01.107" v="6251" actId="166"/>
          <ac:spMkLst>
            <pc:docMk/>
            <pc:sldMk cId="243299830" sldId="3531"/>
            <ac:spMk id="144" creationId="{ABE5B297-5E5B-4234-93D4-305D26BBE392}"/>
          </ac:spMkLst>
        </pc:spChg>
        <pc:spChg chg="mod ord">
          <ac:chgData name="Annette Ysland Ludvigsen" userId="5cc2156a-4192-4fe6-8372-bcf947567e0f" providerId="ADAL" clId="{29604A7C-77EF-4D8C-A274-1EAA9DB0101B}" dt="2021-06-11T05:58:31.853" v="6228" actId="1076"/>
          <ac:spMkLst>
            <pc:docMk/>
            <pc:sldMk cId="243299830" sldId="3531"/>
            <ac:spMk id="149" creationId="{B782A468-4CF6-4EA2-A968-A94D3CFA68F0}"/>
          </ac:spMkLst>
        </pc:spChg>
        <pc:spChg chg="del">
          <ac:chgData name="Annette Ysland Ludvigsen" userId="5cc2156a-4192-4fe6-8372-bcf947567e0f" providerId="ADAL" clId="{29604A7C-77EF-4D8C-A274-1EAA9DB0101B}" dt="2021-06-11T05:58:08.595" v="6217" actId="478"/>
          <ac:spMkLst>
            <pc:docMk/>
            <pc:sldMk cId="243299830" sldId="3531"/>
            <ac:spMk id="150" creationId="{069B95E2-36AC-4EC4-9338-621C97616303}"/>
          </ac:spMkLst>
        </pc:spChg>
        <pc:spChg chg="del">
          <ac:chgData name="Annette Ysland Ludvigsen" userId="5cc2156a-4192-4fe6-8372-bcf947567e0f" providerId="ADAL" clId="{29604A7C-77EF-4D8C-A274-1EAA9DB0101B}" dt="2021-06-11T05:58:19.540" v="6222" actId="478"/>
          <ac:spMkLst>
            <pc:docMk/>
            <pc:sldMk cId="243299830" sldId="3531"/>
            <ac:spMk id="151" creationId="{4EA8F7F2-7FD0-44CE-9B74-0E26C036C136}"/>
          </ac:spMkLst>
        </pc:spChg>
        <pc:spChg chg="ord">
          <ac:chgData name="Annette Ysland Ludvigsen" userId="5cc2156a-4192-4fe6-8372-bcf947567e0f" providerId="ADAL" clId="{29604A7C-77EF-4D8C-A274-1EAA9DB0101B}" dt="2021-06-11T06:01:01.107" v="6251" actId="166"/>
          <ac:spMkLst>
            <pc:docMk/>
            <pc:sldMk cId="243299830" sldId="3531"/>
            <ac:spMk id="153" creationId="{7B377136-B320-46A0-A09B-AA9AF19A27F2}"/>
          </ac:spMkLst>
        </pc:spChg>
        <pc:spChg chg="ord">
          <ac:chgData name="Annette Ysland Ludvigsen" userId="5cc2156a-4192-4fe6-8372-bcf947567e0f" providerId="ADAL" clId="{29604A7C-77EF-4D8C-A274-1EAA9DB0101B}" dt="2021-06-11T06:01:01.107" v="6251" actId="166"/>
          <ac:spMkLst>
            <pc:docMk/>
            <pc:sldMk cId="243299830" sldId="3531"/>
            <ac:spMk id="156" creationId="{29756F2C-270D-4832-8E23-E5AA7A7F03F1}"/>
          </ac:spMkLst>
        </pc:spChg>
        <pc:spChg chg="ord">
          <ac:chgData name="Annette Ysland Ludvigsen" userId="5cc2156a-4192-4fe6-8372-bcf947567e0f" providerId="ADAL" clId="{29604A7C-77EF-4D8C-A274-1EAA9DB0101B}" dt="2021-06-11T05:59:18.835" v="6239" actId="166"/>
          <ac:spMkLst>
            <pc:docMk/>
            <pc:sldMk cId="243299830" sldId="3531"/>
            <ac:spMk id="157" creationId="{55044810-61E2-4BD8-BA46-FD17FB20284C}"/>
          </ac:spMkLst>
        </pc:spChg>
      </pc:sldChg>
      <pc:sldChg chg="addSp delSp modSp add del mod ord delAnim modAnim">
        <pc:chgData name="Annette Ysland Ludvigsen" userId="5cc2156a-4192-4fe6-8372-bcf947567e0f" providerId="ADAL" clId="{29604A7C-77EF-4D8C-A274-1EAA9DB0101B}" dt="2021-06-14T07:53:32.757" v="8450" actId="14100"/>
        <pc:sldMkLst>
          <pc:docMk/>
          <pc:sldMk cId="2200600267" sldId="3532"/>
        </pc:sldMkLst>
        <pc:spChg chg="del mod">
          <ac:chgData name="Annette Ysland Ludvigsen" userId="5cc2156a-4192-4fe6-8372-bcf947567e0f" providerId="ADAL" clId="{29604A7C-77EF-4D8C-A274-1EAA9DB0101B}" dt="2021-06-09T08:16:51.397" v="1361" actId="478"/>
          <ac:spMkLst>
            <pc:docMk/>
            <pc:sldMk cId="2200600267" sldId="3532"/>
            <ac:spMk id="2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10T10:00:33.457" v="3576" actId="478"/>
          <ac:spMkLst>
            <pc:docMk/>
            <pc:sldMk cId="2200600267" sldId="3532"/>
            <ac:spMk id="3" creationId="{F13908BD-6E45-46E2-914E-751497F3697E}"/>
          </ac:spMkLst>
        </pc:spChg>
        <pc:spChg chg="del">
          <ac:chgData name="Annette Ysland Ludvigsen" userId="5cc2156a-4192-4fe6-8372-bcf947567e0f" providerId="ADAL" clId="{29604A7C-77EF-4D8C-A274-1EAA9DB0101B}" dt="2021-06-10T10:00:30.268" v="3574" actId="478"/>
          <ac:spMkLst>
            <pc:docMk/>
            <pc:sldMk cId="2200600267" sldId="3532"/>
            <ac:spMk id="36" creationId="{17BC298D-BE34-4B41-A0F7-59E812C62A22}"/>
          </ac:spMkLst>
        </pc:spChg>
        <pc:spChg chg="del">
          <ac:chgData name="Annette Ysland Ludvigsen" userId="5cc2156a-4192-4fe6-8372-bcf947567e0f" providerId="ADAL" clId="{29604A7C-77EF-4D8C-A274-1EAA9DB0101B}" dt="2021-06-10T10:00:31.647" v="3575" actId="478"/>
          <ac:spMkLst>
            <pc:docMk/>
            <pc:sldMk cId="2200600267" sldId="3532"/>
            <ac:spMk id="37" creationId="{30400F7C-FE9D-489F-87B5-BC83DDA2B127}"/>
          </ac:spMkLst>
        </pc:spChg>
        <pc:spChg chg="add mod">
          <ac:chgData name="Annette Ysland Ludvigsen" userId="5cc2156a-4192-4fe6-8372-bcf947567e0f" providerId="ADAL" clId="{29604A7C-77EF-4D8C-A274-1EAA9DB0101B}" dt="2021-06-10T10:27:43.892" v="3729" actId="1076"/>
          <ac:spMkLst>
            <pc:docMk/>
            <pc:sldMk cId="2200600267" sldId="3532"/>
            <ac:spMk id="38" creationId="{4E52F797-1CFD-4547-907B-5D9C8EA96AF2}"/>
          </ac:spMkLst>
        </pc:spChg>
        <pc:spChg chg="mod">
          <ac:chgData name="Annette Ysland Ludvigsen" userId="5cc2156a-4192-4fe6-8372-bcf947567e0f" providerId="ADAL" clId="{29604A7C-77EF-4D8C-A274-1EAA9DB0101B}" dt="2021-06-14T07:53:32.757" v="8450" actId="14100"/>
          <ac:spMkLst>
            <pc:docMk/>
            <pc:sldMk cId="2200600267" sldId="3532"/>
            <ac:spMk id="65" creationId="{9A5009CE-EC1A-42BD-AA46-64AAEBE88152}"/>
          </ac:spMkLst>
        </pc:spChg>
        <pc:spChg chg="mod">
          <ac:chgData name="Annette Ysland Ludvigsen" userId="5cc2156a-4192-4fe6-8372-bcf947567e0f" providerId="ADAL" clId="{29604A7C-77EF-4D8C-A274-1EAA9DB0101B}" dt="2021-06-10T10:27:52.122" v="3745" actId="20577"/>
          <ac:spMkLst>
            <pc:docMk/>
            <pc:sldMk cId="2200600267" sldId="3532"/>
            <ac:spMk id="112" creationId="{00000000-0000-0000-0000-000000000000}"/>
          </ac:spMkLst>
        </pc:spChg>
        <pc:spChg chg="mod">
          <ac:chgData name="Annette Ysland Ludvigsen" userId="5cc2156a-4192-4fe6-8372-bcf947567e0f" providerId="ADAL" clId="{29604A7C-77EF-4D8C-A274-1EAA9DB0101B}" dt="2021-06-10T19:47:25.692" v="4043" actId="207"/>
          <ac:spMkLst>
            <pc:docMk/>
            <pc:sldMk cId="2200600267" sldId="3532"/>
            <ac:spMk id="113" creationId="{0FC9E4D4-DE55-4588-BEBD-80201151A4F7}"/>
          </ac:spMkLst>
        </pc:spChg>
        <pc:spChg chg="mod">
          <ac:chgData name="Annette Ysland Ludvigsen" userId="5cc2156a-4192-4fe6-8372-bcf947567e0f" providerId="ADAL" clId="{29604A7C-77EF-4D8C-A274-1EAA9DB0101B}" dt="2021-06-10T19:47:25.692" v="4043" actId="207"/>
          <ac:spMkLst>
            <pc:docMk/>
            <pc:sldMk cId="2200600267" sldId="3532"/>
            <ac:spMk id="114" creationId="{4AF6FB2D-50FD-4031-A3A4-A203365FCC22}"/>
          </ac:spMkLst>
        </pc:spChg>
        <pc:spChg chg="mod">
          <ac:chgData name="Annette Ysland Ludvigsen" userId="5cc2156a-4192-4fe6-8372-bcf947567e0f" providerId="ADAL" clId="{29604A7C-77EF-4D8C-A274-1EAA9DB0101B}" dt="2021-06-10T19:47:25.692" v="4043" actId="207"/>
          <ac:spMkLst>
            <pc:docMk/>
            <pc:sldMk cId="2200600267" sldId="3532"/>
            <ac:spMk id="117" creationId="{4228F3B3-5549-47FB-8A37-C22D9A2A0307}"/>
          </ac:spMkLst>
        </pc:spChg>
        <pc:spChg chg="mod">
          <ac:chgData name="Annette Ysland Ludvigsen" userId="5cc2156a-4192-4fe6-8372-bcf947567e0f" providerId="ADAL" clId="{29604A7C-77EF-4D8C-A274-1EAA9DB0101B}" dt="2021-06-10T19:47:25.692" v="4043" actId="207"/>
          <ac:spMkLst>
            <pc:docMk/>
            <pc:sldMk cId="2200600267" sldId="3532"/>
            <ac:spMk id="137" creationId="{978AF6FC-1B59-4D59-88A6-4DF06A17D44A}"/>
          </ac:spMkLst>
        </pc:spChg>
      </pc:sldChg>
      <pc:sldChg chg="modSp add del">
        <pc:chgData name="Annette Ysland Ludvigsen" userId="5cc2156a-4192-4fe6-8372-bcf947567e0f" providerId="ADAL" clId="{29604A7C-77EF-4D8C-A274-1EAA9DB0101B}" dt="2021-06-09T07:50:30.008" v="1218" actId="47"/>
        <pc:sldMkLst>
          <pc:docMk/>
          <pc:sldMk cId="3208523609" sldId="3533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3208523609" sldId="3533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49:38.744" v="1214" actId="47"/>
        <pc:sldMkLst>
          <pc:docMk/>
          <pc:sldMk cId="3153077318" sldId="3534"/>
        </pc:sldMkLst>
      </pc:sldChg>
      <pc:sldChg chg="add del">
        <pc:chgData name="Annette Ysland Ludvigsen" userId="5cc2156a-4192-4fe6-8372-bcf947567e0f" providerId="ADAL" clId="{29604A7C-77EF-4D8C-A274-1EAA9DB0101B}" dt="2021-06-09T07:51:07.995" v="1221" actId="47"/>
        <pc:sldMkLst>
          <pc:docMk/>
          <pc:sldMk cId="1816112323" sldId="3535"/>
        </pc:sldMkLst>
      </pc:sldChg>
      <pc:sldChg chg="modSp add del">
        <pc:chgData name="Annette Ysland Ludvigsen" userId="5cc2156a-4192-4fe6-8372-bcf947567e0f" providerId="ADAL" clId="{29604A7C-77EF-4D8C-A274-1EAA9DB0101B}" dt="2021-06-09T07:51:10.248" v="1222" actId="47"/>
        <pc:sldMkLst>
          <pc:docMk/>
          <pc:sldMk cId="861411833" sldId="3536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861411833" sldId="3536"/>
            <ac:spMk id="2" creationId="{00000000-0000-0000-0000-000000000000}"/>
          </ac:spMkLst>
        </pc:spChg>
      </pc:sldChg>
      <pc:sldChg chg="add del">
        <pc:chgData name="Annette Ysland Ludvigsen" userId="5cc2156a-4192-4fe6-8372-bcf947567e0f" providerId="ADAL" clId="{29604A7C-77EF-4D8C-A274-1EAA9DB0101B}" dt="2021-06-09T07:51:00.836" v="1219" actId="47"/>
        <pc:sldMkLst>
          <pc:docMk/>
          <pc:sldMk cId="3111033115" sldId="3537"/>
        </pc:sldMkLst>
      </pc:sldChg>
      <pc:sldChg chg="addSp delSp modSp add del mod ord addAnim delAnim">
        <pc:chgData name="Annette Ysland Ludvigsen" userId="5cc2156a-4192-4fe6-8372-bcf947567e0f" providerId="ADAL" clId="{29604A7C-77EF-4D8C-A274-1EAA9DB0101B}" dt="2021-06-10T10:27:46.618" v="3730" actId="47"/>
        <pc:sldMkLst>
          <pc:docMk/>
          <pc:sldMk cId="3572340537" sldId="3538"/>
        </pc:sldMkLst>
        <pc:spChg chg="del mod">
          <ac:chgData name="Annette Ysland Ludvigsen" userId="5cc2156a-4192-4fe6-8372-bcf947567e0f" providerId="ADAL" clId="{29604A7C-77EF-4D8C-A274-1EAA9DB0101B}" dt="2021-06-09T08:16:48.174" v="1360" actId="478"/>
          <ac:spMkLst>
            <pc:docMk/>
            <pc:sldMk cId="3572340537" sldId="3538"/>
            <ac:spMk id="2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09T10:46:35.733" v="1388" actId="478"/>
          <ac:spMkLst>
            <pc:docMk/>
            <pc:sldMk cId="3572340537" sldId="3538"/>
            <ac:spMk id="8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09T10:46:45.731" v="1390" actId="478"/>
          <ac:spMkLst>
            <pc:docMk/>
            <pc:sldMk cId="3572340537" sldId="3538"/>
            <ac:spMk id="10" creationId="{00000000-0000-0000-0000-000000000000}"/>
          </ac:spMkLst>
        </pc:spChg>
        <pc:spChg chg="add del">
          <ac:chgData name="Annette Ysland Ludvigsen" userId="5cc2156a-4192-4fe6-8372-bcf947567e0f" providerId="ADAL" clId="{29604A7C-77EF-4D8C-A274-1EAA9DB0101B}" dt="2021-06-09T10:46:49.917" v="1392" actId="478"/>
          <ac:spMkLst>
            <pc:docMk/>
            <pc:sldMk cId="3572340537" sldId="3538"/>
            <ac:spMk id="14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09T10:46:53.543" v="1393" actId="478"/>
          <ac:spMkLst>
            <pc:docMk/>
            <pc:sldMk cId="3572340537" sldId="3538"/>
            <ac:spMk id="23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09T10:46:37.110" v="1389" actId="478"/>
          <ac:spMkLst>
            <pc:docMk/>
            <pc:sldMk cId="3572340537" sldId="3538"/>
            <ac:spMk id="88" creationId="{5C3250A7-2CE8-4083-9856-4A333134EEC6}"/>
          </ac:spMkLst>
        </pc:spChg>
        <pc:cxnChg chg="mod">
          <ac:chgData name="Annette Ysland Ludvigsen" userId="5cc2156a-4192-4fe6-8372-bcf947567e0f" providerId="ADAL" clId="{29604A7C-77EF-4D8C-A274-1EAA9DB0101B}" dt="2021-06-09T10:46:49.917" v="1392" actId="478"/>
          <ac:cxnSpMkLst>
            <pc:docMk/>
            <pc:sldMk cId="3572340537" sldId="3538"/>
            <ac:cxnSpMk id="11" creationId="{4395D89F-9B1D-453D-88B2-D0C4AA949625}"/>
          </ac:cxnSpMkLst>
        </pc:cxnChg>
        <pc:cxnChg chg="mod">
          <ac:chgData name="Annette Ysland Ludvigsen" userId="5cc2156a-4192-4fe6-8372-bcf947567e0f" providerId="ADAL" clId="{29604A7C-77EF-4D8C-A274-1EAA9DB0101B}" dt="2021-06-09T10:46:49.917" v="1392" actId="478"/>
          <ac:cxnSpMkLst>
            <pc:docMk/>
            <pc:sldMk cId="3572340537" sldId="3538"/>
            <ac:cxnSpMk id="27" creationId="{DA577178-C48F-40AC-8BEA-B09D30B7B69B}"/>
          </ac:cxnSpMkLst>
        </pc:cxnChg>
        <pc:cxnChg chg="mod">
          <ac:chgData name="Annette Ysland Ludvigsen" userId="5cc2156a-4192-4fe6-8372-bcf947567e0f" providerId="ADAL" clId="{29604A7C-77EF-4D8C-A274-1EAA9DB0101B}" dt="2021-06-09T10:46:49.917" v="1392" actId="478"/>
          <ac:cxnSpMkLst>
            <pc:docMk/>
            <pc:sldMk cId="3572340537" sldId="3538"/>
            <ac:cxnSpMk id="89" creationId="{53E93D0E-E669-4F5F-9D91-7CC990B2DAA7}"/>
          </ac:cxnSpMkLst>
        </pc:cxnChg>
        <pc:cxnChg chg="mod">
          <ac:chgData name="Annette Ysland Ludvigsen" userId="5cc2156a-4192-4fe6-8372-bcf947567e0f" providerId="ADAL" clId="{29604A7C-77EF-4D8C-A274-1EAA9DB0101B}" dt="2021-06-09T10:46:49.917" v="1392" actId="478"/>
          <ac:cxnSpMkLst>
            <pc:docMk/>
            <pc:sldMk cId="3572340537" sldId="3538"/>
            <ac:cxnSpMk id="97" creationId="{A9195798-BBDC-47F1-9CE6-1DA1CA2B7B9A}"/>
          </ac:cxnSpMkLst>
        </pc:cxnChg>
        <pc:cxnChg chg="mod">
          <ac:chgData name="Annette Ysland Ludvigsen" userId="5cc2156a-4192-4fe6-8372-bcf947567e0f" providerId="ADAL" clId="{29604A7C-77EF-4D8C-A274-1EAA9DB0101B}" dt="2021-06-09T10:46:49.917" v="1392" actId="478"/>
          <ac:cxnSpMkLst>
            <pc:docMk/>
            <pc:sldMk cId="3572340537" sldId="3538"/>
            <ac:cxnSpMk id="98" creationId="{EF1ADE43-F2DC-482E-872A-368CF24FA13A}"/>
          </ac:cxnSpMkLst>
        </pc:cxnChg>
      </pc:sldChg>
      <pc:sldChg chg="addSp delSp modSp add mod ord modAnim">
        <pc:chgData name="Annette Ysland Ludvigsen" userId="5cc2156a-4192-4fe6-8372-bcf947567e0f" providerId="ADAL" clId="{29604A7C-77EF-4D8C-A274-1EAA9DB0101B}" dt="2021-06-14T13:35:08.206" v="11237"/>
        <pc:sldMkLst>
          <pc:docMk/>
          <pc:sldMk cId="1319397429" sldId="3539"/>
        </pc:sldMkLst>
        <pc:spChg chg="del mod">
          <ac:chgData name="Annette Ysland Ludvigsen" userId="5cc2156a-4192-4fe6-8372-bcf947567e0f" providerId="ADAL" clId="{29604A7C-77EF-4D8C-A274-1EAA9DB0101B}" dt="2021-06-10T09:59:07.587" v="3561" actId="478"/>
          <ac:spMkLst>
            <pc:docMk/>
            <pc:sldMk cId="1319397429" sldId="3539"/>
            <ac:spMk id="2" creationId="{00000000-0000-0000-0000-000000000000}"/>
          </ac:spMkLst>
        </pc:spChg>
        <pc:spChg chg="add del mod">
          <ac:chgData name="Annette Ysland Ludvigsen" userId="5cc2156a-4192-4fe6-8372-bcf947567e0f" providerId="ADAL" clId="{29604A7C-77EF-4D8C-A274-1EAA9DB0101B}" dt="2021-06-14T06:09:17.235" v="8240" actId="478"/>
          <ac:spMkLst>
            <pc:docMk/>
            <pc:sldMk cId="1319397429" sldId="3539"/>
            <ac:spMk id="42" creationId="{EEDBDD10-71D4-469B-8C72-DD7801548819}"/>
          </ac:spMkLst>
        </pc:spChg>
        <pc:spChg chg="add del mod">
          <ac:chgData name="Annette Ysland Ludvigsen" userId="5cc2156a-4192-4fe6-8372-bcf947567e0f" providerId="ADAL" clId="{29604A7C-77EF-4D8C-A274-1EAA9DB0101B}" dt="2021-06-14T06:09:15.915" v="8239" actId="478"/>
          <ac:spMkLst>
            <pc:docMk/>
            <pc:sldMk cId="1319397429" sldId="3539"/>
            <ac:spMk id="43" creationId="{818B01E0-FA83-450E-8E2E-530DE645C1E0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92" creationId="{5265243F-AE02-40F4-9350-4B5A0812721D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13" creationId="{0FC9E4D4-DE55-4588-BEBD-80201151A4F7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14" creationId="{4AF6FB2D-50FD-4031-A3A4-A203365FCC22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17" creationId="{4228F3B3-5549-47FB-8A37-C22D9A2A0307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23" creationId="{32185FC5-8D70-4FB6-9600-37049C9CA2C6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24" creationId="{7C784CF9-08C9-4583-9FD2-85FAACF2447A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26" creationId="{B5800102-E4C2-4940-B135-CA76E078991A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37" creationId="{978AF6FC-1B59-4D59-88A6-4DF06A17D44A}"/>
          </ac:spMkLst>
        </pc:spChg>
        <pc:spChg chg="mod">
          <ac:chgData name="Annette Ysland Ludvigsen" userId="5cc2156a-4192-4fe6-8372-bcf947567e0f" providerId="ADAL" clId="{29604A7C-77EF-4D8C-A274-1EAA9DB0101B}" dt="2021-06-10T19:47:08.375" v="4042" actId="207"/>
          <ac:spMkLst>
            <pc:docMk/>
            <pc:sldMk cId="1319397429" sldId="3539"/>
            <ac:spMk id="138" creationId="{A12FD68B-0BA1-41D3-9E00-A8D09D00D145}"/>
          </ac:spMkLst>
        </pc:spChg>
      </pc:sldChg>
      <pc:sldChg chg="addSp modSp new mod setBg">
        <pc:chgData name="Annette Ysland Ludvigsen" userId="5cc2156a-4192-4fe6-8372-bcf947567e0f" providerId="ADAL" clId="{29604A7C-77EF-4D8C-A274-1EAA9DB0101B}" dt="2021-06-11T05:31:15.740" v="5506" actId="20577"/>
        <pc:sldMkLst>
          <pc:docMk/>
          <pc:sldMk cId="2223260048" sldId="3540"/>
        </pc:sldMkLst>
        <pc:spChg chg="mod">
          <ac:chgData name="Annette Ysland Ludvigsen" userId="5cc2156a-4192-4fe6-8372-bcf947567e0f" providerId="ADAL" clId="{29604A7C-77EF-4D8C-A274-1EAA9DB0101B}" dt="2021-06-10T20:15:14.630" v="4807" actId="26606"/>
          <ac:spMkLst>
            <pc:docMk/>
            <pc:sldMk cId="2223260048" sldId="3540"/>
            <ac:spMk id="2" creationId="{832FD9DD-E09D-4A7F-B5A8-E3B6C4DCB772}"/>
          </ac:spMkLst>
        </pc:spChg>
        <pc:spChg chg="mod">
          <ac:chgData name="Annette Ysland Ludvigsen" userId="5cc2156a-4192-4fe6-8372-bcf947567e0f" providerId="ADAL" clId="{29604A7C-77EF-4D8C-A274-1EAA9DB0101B}" dt="2021-06-11T05:31:15.740" v="5506" actId="20577"/>
          <ac:spMkLst>
            <pc:docMk/>
            <pc:sldMk cId="2223260048" sldId="3540"/>
            <ac:spMk id="3" creationId="{1C7A9D0E-D8CD-4ADB-AE1E-26621D57CE32}"/>
          </ac:spMkLst>
        </pc:spChg>
        <pc:spChg chg="add">
          <ac:chgData name="Annette Ysland Ludvigsen" userId="5cc2156a-4192-4fe6-8372-bcf947567e0f" providerId="ADAL" clId="{29604A7C-77EF-4D8C-A274-1EAA9DB0101B}" dt="2021-06-10T20:15:14.630" v="4807" actId="26606"/>
          <ac:spMkLst>
            <pc:docMk/>
            <pc:sldMk cId="2223260048" sldId="3540"/>
            <ac:spMk id="8" creationId="{C7D023E4-8DE1-436E-9847-ED6A4B4B04FD}"/>
          </ac:spMkLst>
        </pc:spChg>
        <pc:spChg chg="add">
          <ac:chgData name="Annette Ysland Ludvigsen" userId="5cc2156a-4192-4fe6-8372-bcf947567e0f" providerId="ADAL" clId="{29604A7C-77EF-4D8C-A274-1EAA9DB0101B}" dt="2021-06-10T20:15:14.630" v="4807" actId="26606"/>
          <ac:spMkLst>
            <pc:docMk/>
            <pc:sldMk cId="2223260048" sldId="3540"/>
            <ac:spMk id="10" creationId="{6BE11944-ED05-4FE9-9927-06C110BB3A36}"/>
          </ac:spMkLst>
        </pc:spChg>
        <pc:grpChg chg="add">
          <ac:chgData name="Annette Ysland Ludvigsen" userId="5cc2156a-4192-4fe6-8372-bcf947567e0f" providerId="ADAL" clId="{29604A7C-77EF-4D8C-A274-1EAA9DB0101B}" dt="2021-06-10T20:15:14.630" v="4807" actId="26606"/>
          <ac:grpSpMkLst>
            <pc:docMk/>
            <pc:sldMk cId="2223260048" sldId="3540"/>
            <ac:grpSpMk id="12" creationId="{A2812508-238C-4BCD-BDD3-25C99C5CA233}"/>
          </ac:grpSpMkLst>
        </pc:grpChg>
        <pc:grpChg chg="add">
          <ac:chgData name="Annette Ysland Ludvigsen" userId="5cc2156a-4192-4fe6-8372-bcf947567e0f" providerId="ADAL" clId="{29604A7C-77EF-4D8C-A274-1EAA9DB0101B}" dt="2021-06-10T20:15:14.630" v="4807" actId="26606"/>
          <ac:grpSpMkLst>
            <pc:docMk/>
            <pc:sldMk cId="2223260048" sldId="3540"/>
            <ac:grpSpMk id="16" creationId="{43F5E015-E085-4624-B431-B42414448684}"/>
          </ac:grpSpMkLst>
        </pc:grpChg>
      </pc:sldChg>
      <pc:sldChg chg="addSp delSp modSp new del mod ord">
        <pc:chgData name="Annette Ysland Ludvigsen" userId="5cc2156a-4192-4fe6-8372-bcf947567e0f" providerId="ADAL" clId="{29604A7C-77EF-4D8C-A274-1EAA9DB0101B}" dt="2021-06-10T20:11:57.676" v="4683" actId="47"/>
        <pc:sldMkLst>
          <pc:docMk/>
          <pc:sldMk cId="323935927" sldId="3541"/>
        </pc:sldMkLst>
        <pc:spChg chg="del mod">
          <ac:chgData name="Annette Ysland Ludvigsen" userId="5cc2156a-4192-4fe6-8372-bcf947567e0f" providerId="ADAL" clId="{29604A7C-77EF-4D8C-A274-1EAA9DB0101B}" dt="2021-06-10T20:09:36.569" v="4590" actId="478"/>
          <ac:spMkLst>
            <pc:docMk/>
            <pc:sldMk cId="323935927" sldId="3541"/>
            <ac:spMk id="2" creationId="{899DC88D-367B-4939-9EE9-2A9CF60F8B10}"/>
          </ac:spMkLst>
        </pc:spChg>
        <pc:spChg chg="del mod">
          <ac:chgData name="Annette Ysland Ludvigsen" userId="5cc2156a-4192-4fe6-8372-bcf947567e0f" providerId="ADAL" clId="{29604A7C-77EF-4D8C-A274-1EAA9DB0101B}" dt="2021-06-10T20:08:53.826" v="4516" actId="26606"/>
          <ac:spMkLst>
            <pc:docMk/>
            <pc:sldMk cId="323935927" sldId="3541"/>
            <ac:spMk id="3" creationId="{7B3C0642-61D0-4C84-AF18-44DDFED5992E}"/>
          </ac:spMkLst>
        </pc:spChg>
        <pc:spChg chg="add del mod">
          <ac:chgData name="Annette Ysland Ludvigsen" userId="5cc2156a-4192-4fe6-8372-bcf947567e0f" providerId="ADAL" clId="{29604A7C-77EF-4D8C-A274-1EAA9DB0101B}" dt="2021-06-10T20:09:37.730" v="4591" actId="478"/>
          <ac:spMkLst>
            <pc:docMk/>
            <pc:sldMk cId="323935927" sldId="3541"/>
            <ac:spMk id="6" creationId="{676889C1-B473-4AC0-B6F3-2B82B0786D06}"/>
          </ac:spMkLst>
        </pc:spChg>
        <pc:graphicFrameChg chg="add mod">
          <ac:chgData name="Annette Ysland Ludvigsen" userId="5cc2156a-4192-4fe6-8372-bcf947567e0f" providerId="ADAL" clId="{29604A7C-77EF-4D8C-A274-1EAA9DB0101B}" dt="2021-06-10T20:11:05.867" v="4606" actId="20577"/>
          <ac:graphicFrameMkLst>
            <pc:docMk/>
            <pc:sldMk cId="323935927" sldId="3541"/>
            <ac:graphicFrameMk id="5" creationId="{59950D70-5547-4156-8D85-B040C37E2B01}"/>
          </ac:graphicFrameMkLst>
        </pc:graphicFrameChg>
      </pc:sldChg>
      <pc:sldChg chg="modSp add del">
        <pc:chgData name="Annette Ysland Ludvigsen" userId="5cc2156a-4192-4fe6-8372-bcf947567e0f" providerId="ADAL" clId="{29604A7C-77EF-4D8C-A274-1EAA9DB0101B}" dt="2021-06-09T08:03:47.395" v="1275" actId="47"/>
        <pc:sldMkLst>
          <pc:docMk/>
          <pc:sldMk cId="658879392" sldId="3541"/>
        </pc:sldMkLst>
        <pc:spChg chg="mod">
          <ac:chgData name="Annette Ysland Ludvigsen" userId="5cc2156a-4192-4fe6-8372-bcf947567e0f" providerId="ADAL" clId="{29604A7C-77EF-4D8C-A274-1EAA9DB0101B}" dt="2021-06-09T07:46:10.351" v="1205"/>
          <ac:spMkLst>
            <pc:docMk/>
            <pc:sldMk cId="658879392" sldId="3541"/>
            <ac:spMk id="2" creationId="{00000000-0000-0000-0000-000000000000}"/>
          </ac:spMkLst>
        </pc:spChg>
      </pc:sldChg>
      <pc:sldChg chg="addSp modSp new mod setBg">
        <pc:chgData name="Annette Ysland Ludvigsen" userId="5cc2156a-4192-4fe6-8372-bcf947567e0f" providerId="ADAL" clId="{29604A7C-77EF-4D8C-A274-1EAA9DB0101B}" dt="2021-06-11T05:22:17.490" v="5170" actId="122"/>
        <pc:sldMkLst>
          <pc:docMk/>
          <pc:sldMk cId="2882709577" sldId="3542"/>
        </pc:sldMkLst>
        <pc:spChg chg="mod">
          <ac:chgData name="Annette Ysland Ludvigsen" userId="5cc2156a-4192-4fe6-8372-bcf947567e0f" providerId="ADAL" clId="{29604A7C-77EF-4D8C-A274-1EAA9DB0101B}" dt="2021-06-11T05:22:17.490" v="5170" actId="122"/>
          <ac:spMkLst>
            <pc:docMk/>
            <pc:sldMk cId="2882709577" sldId="3542"/>
            <ac:spMk id="2" creationId="{91349B4B-DB5F-4C36-A1CC-E08CF26E2292}"/>
          </ac:spMkLst>
        </pc:spChg>
        <pc:spChg chg="mod">
          <ac:chgData name="Annette Ysland Ludvigsen" userId="5cc2156a-4192-4fe6-8372-bcf947567e0f" providerId="ADAL" clId="{29604A7C-77EF-4D8C-A274-1EAA9DB0101B}" dt="2021-06-10T20:12:35.750" v="4689" actId="14100"/>
          <ac:spMkLst>
            <pc:docMk/>
            <pc:sldMk cId="2882709577" sldId="3542"/>
            <ac:spMk id="3" creationId="{87FD670F-6302-4AE8-ABDC-CAED5DDF82FD}"/>
          </ac:spMkLst>
        </pc:spChg>
        <pc:spChg chg="add">
          <ac:chgData name="Annette Ysland Ludvigsen" userId="5cc2156a-4192-4fe6-8372-bcf947567e0f" providerId="ADAL" clId="{29604A7C-77EF-4D8C-A274-1EAA9DB0101B}" dt="2021-06-10T20:12:20.131" v="4684" actId="26606"/>
          <ac:spMkLst>
            <pc:docMk/>
            <pc:sldMk cId="2882709577" sldId="3542"/>
            <ac:spMk id="8" creationId="{44D65982-4F00-4330-8DAA-DE6A9E4D6D23}"/>
          </ac:spMkLst>
        </pc:spChg>
        <pc:spChg chg="add">
          <ac:chgData name="Annette Ysland Ludvigsen" userId="5cc2156a-4192-4fe6-8372-bcf947567e0f" providerId="ADAL" clId="{29604A7C-77EF-4D8C-A274-1EAA9DB0101B}" dt="2021-06-10T20:12:20.131" v="4684" actId="26606"/>
          <ac:spMkLst>
            <pc:docMk/>
            <pc:sldMk cId="2882709577" sldId="3542"/>
            <ac:spMk id="10" creationId="{009115B9-5BFD-478D-9C87-29ADB3AF1721}"/>
          </ac:spMkLst>
        </pc:spChg>
        <pc:grpChg chg="add">
          <ac:chgData name="Annette Ysland Ludvigsen" userId="5cc2156a-4192-4fe6-8372-bcf947567e0f" providerId="ADAL" clId="{29604A7C-77EF-4D8C-A274-1EAA9DB0101B}" dt="2021-06-10T20:12:20.131" v="4684" actId="26606"/>
          <ac:grpSpMkLst>
            <pc:docMk/>
            <pc:sldMk cId="2882709577" sldId="3542"/>
            <ac:grpSpMk id="12" creationId="{8D57F946-2E03-4DE1-91F8-25BEDC663563}"/>
          </ac:grpSpMkLst>
        </pc:grpChg>
        <pc:grpChg chg="add">
          <ac:chgData name="Annette Ysland Ludvigsen" userId="5cc2156a-4192-4fe6-8372-bcf947567e0f" providerId="ADAL" clId="{29604A7C-77EF-4D8C-A274-1EAA9DB0101B}" dt="2021-06-10T20:12:20.131" v="4684" actId="26606"/>
          <ac:grpSpMkLst>
            <pc:docMk/>
            <pc:sldMk cId="2882709577" sldId="3542"/>
            <ac:grpSpMk id="16" creationId="{43F5E015-E085-4624-B431-B42414448684}"/>
          </ac:grpSpMkLst>
        </pc:grpChg>
      </pc:sldChg>
      <pc:sldChg chg="new del">
        <pc:chgData name="Annette Ysland Ludvigsen" userId="5cc2156a-4192-4fe6-8372-bcf947567e0f" providerId="ADAL" clId="{29604A7C-77EF-4D8C-A274-1EAA9DB0101B}" dt="2021-06-10T06:07:32.946" v="1430" actId="680"/>
        <pc:sldMkLst>
          <pc:docMk/>
          <pc:sldMk cId="3619867800" sldId="3542"/>
        </pc:sldMkLst>
      </pc:sldChg>
      <pc:sldChg chg="modSp add del mod modAnim">
        <pc:chgData name="Annette Ysland Ludvigsen" userId="5cc2156a-4192-4fe6-8372-bcf947567e0f" providerId="ADAL" clId="{29604A7C-77EF-4D8C-A274-1EAA9DB0101B}" dt="2021-06-14T12:38:49.154" v="8599" actId="14100"/>
        <pc:sldMkLst>
          <pc:docMk/>
          <pc:sldMk cId="1149498149" sldId="3543"/>
        </pc:sldMkLst>
        <pc:spChg chg="mod">
          <ac:chgData name="Annette Ysland Ludvigsen" userId="5cc2156a-4192-4fe6-8372-bcf947567e0f" providerId="ADAL" clId="{29604A7C-77EF-4D8C-A274-1EAA9DB0101B}" dt="2021-06-14T12:38:49.154" v="8599" actId="14100"/>
          <ac:spMkLst>
            <pc:docMk/>
            <pc:sldMk cId="1149498149" sldId="3543"/>
            <ac:spMk id="2" creationId="{4E5AAA1B-3C0C-475C-BE1B-71F2A7038388}"/>
          </ac:spMkLst>
        </pc:spChg>
        <pc:spChg chg="mod">
          <ac:chgData name="Annette Ysland Ludvigsen" userId="5cc2156a-4192-4fe6-8372-bcf947567e0f" providerId="ADAL" clId="{29604A7C-77EF-4D8C-A274-1EAA9DB0101B}" dt="2021-06-14T12:38:03.873" v="8591" actId="208"/>
          <ac:spMkLst>
            <pc:docMk/>
            <pc:sldMk cId="1149498149" sldId="3543"/>
            <ac:spMk id="3" creationId="{B3F1983A-5396-48FC-8684-4E4A78257327}"/>
          </ac:spMkLst>
        </pc:spChg>
        <pc:graphicFrameChg chg="mod">
          <ac:chgData name="Annette Ysland Ludvigsen" userId="5cc2156a-4192-4fe6-8372-bcf947567e0f" providerId="ADAL" clId="{29604A7C-77EF-4D8C-A274-1EAA9DB0101B}" dt="2021-06-14T12:38:27.257" v="8595" actId="14100"/>
          <ac:graphicFrameMkLst>
            <pc:docMk/>
            <pc:sldMk cId="1149498149" sldId="3543"/>
            <ac:graphicFrameMk id="6" creationId="{4021FD2F-B5D7-40F2-A9DF-2F88800C0BC6}"/>
          </ac:graphicFrameMkLst>
        </pc:graphicFrameChg>
      </pc:sldChg>
      <pc:sldChg chg="addSp delSp modSp new del mod setBg">
        <pc:chgData name="Annette Ysland Ludvigsen" userId="5cc2156a-4192-4fe6-8372-bcf947567e0f" providerId="ADAL" clId="{29604A7C-77EF-4D8C-A274-1EAA9DB0101B}" dt="2021-06-14T05:22:42.535" v="6856" actId="47"/>
        <pc:sldMkLst>
          <pc:docMk/>
          <pc:sldMk cId="1852253847" sldId="3543"/>
        </pc:sldMkLst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71" creationId="{F3060C83-F051-4F0E-ABAD-AA0DFC48B218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73" creationId="{83C98ABE-055B-441F-B07E-44F97F083C39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75" creationId="{29FDB030-9B49-4CED-8CCD-4D99382388AC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77" creationId="{3783CA14-24A1-485C-8B30-D6A5D87987AD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79" creationId="{9A97C86A-04D6-40F7-AE84-31AB43E6A846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81" creationId="{FF9F2414-84E8-453E-B1F3-389FDE8192D9}"/>
          </ac:spMkLst>
        </pc:spChg>
        <pc:spChg chg="add">
          <ac:chgData name="Annette Ysland Ludvigsen" userId="5cc2156a-4192-4fe6-8372-bcf947567e0f" providerId="ADAL" clId="{29604A7C-77EF-4D8C-A274-1EAA9DB0101B}" dt="2021-06-10T06:19:07.197" v="1896" actId="26606"/>
          <ac:spMkLst>
            <pc:docMk/>
            <pc:sldMk cId="1852253847" sldId="3543"/>
            <ac:spMk id="83" creationId="{3ECA69A1-7536-43AC-85EF-C7106179F5ED}"/>
          </ac:spMkLst>
        </pc:spChg>
        <pc:picChg chg="add del">
          <ac:chgData name="Annette Ysland Ludvigsen" userId="5cc2156a-4192-4fe6-8372-bcf947567e0f" providerId="ADAL" clId="{29604A7C-77EF-4D8C-A274-1EAA9DB0101B}" dt="2021-06-14T05:22:02.225" v="6854" actId="21"/>
          <ac:picMkLst>
            <pc:docMk/>
            <pc:sldMk cId="1852253847" sldId="3543"/>
            <ac:picMk id="5122" creationId="{B0E46980-146D-43A8-8B14-5468616F1D10}"/>
          </ac:picMkLst>
        </pc:picChg>
        <pc:picChg chg="add mod">
          <ac:chgData name="Annette Ysland Ludvigsen" userId="5cc2156a-4192-4fe6-8372-bcf947567e0f" providerId="ADAL" clId="{29604A7C-77EF-4D8C-A274-1EAA9DB0101B}" dt="2021-06-10T06:19:17.028" v="1898" actId="1076"/>
          <ac:picMkLst>
            <pc:docMk/>
            <pc:sldMk cId="1852253847" sldId="3543"/>
            <ac:picMk id="7170" creationId="{6A9B8307-6247-408A-A7A1-62E13FA5EFA1}"/>
          </ac:picMkLst>
        </pc:picChg>
      </pc:sldChg>
      <pc:sldChg chg="addSp delSp modSp new mod delAnim modAnim">
        <pc:chgData name="Annette Ysland Ludvigsen" userId="5cc2156a-4192-4fe6-8372-bcf947567e0f" providerId="ADAL" clId="{29604A7C-77EF-4D8C-A274-1EAA9DB0101B}" dt="2021-06-14T05:23:40.427" v="6903" actId="1076"/>
        <pc:sldMkLst>
          <pc:docMk/>
          <pc:sldMk cId="372819754" sldId="3544"/>
        </pc:sldMkLst>
        <pc:spChg chg="add del">
          <ac:chgData name="Annette Ysland Ludvigsen" userId="5cc2156a-4192-4fe6-8372-bcf947567e0f" providerId="ADAL" clId="{29604A7C-77EF-4D8C-A274-1EAA9DB0101B}" dt="2021-06-10T06:53:17.957" v="2652" actId="478"/>
          <ac:spMkLst>
            <pc:docMk/>
            <pc:sldMk cId="372819754" sldId="3544"/>
            <ac:spMk id="2" creationId="{149AC524-E867-44DC-BFD4-FFFBD2B930D2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3" creationId="{648E540E-8C6A-40D1-8833-F55BBD232824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4" creationId="{A90BA812-C259-48AE-8024-0327F424EEB2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5" creationId="{8B9866BA-CB8E-451C-9585-747913FD4D4A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6" creationId="{EA69B98E-D08B-445E-9E5C-586EF01F2447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7" creationId="{5267B57C-E6B1-4731-900A-9205F9BEFEF8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8" creationId="{07B0B24A-1360-42A6-BF07-873B30A7D413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9" creationId="{A82749F3-36AA-4FEE-A4AA-BF7CDE4DD5ED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0" creationId="{58887EAD-0FD4-47B6-9F69-3DA53249C40C}"/>
          </ac:spMkLst>
        </pc:spChg>
        <pc:spChg chg="add del mod">
          <ac:chgData name="Annette Ysland Ludvigsen" userId="5cc2156a-4192-4fe6-8372-bcf947567e0f" providerId="ADAL" clId="{29604A7C-77EF-4D8C-A274-1EAA9DB0101B}" dt="2021-06-10T09:30:23.218" v="2820" actId="478"/>
          <ac:spMkLst>
            <pc:docMk/>
            <pc:sldMk cId="372819754" sldId="3544"/>
            <ac:spMk id="11" creationId="{6677C8EF-E267-4445-B80B-9A1FF3CEEA26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2" creationId="{AD69BAB7-1CDF-4F30-B77C-FBA5FD5EA87D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3" creationId="{C51CD6A6-C4EC-43A5-A13B-D5FE18407CC5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4" creationId="{763817BF-0788-47F2-8C51-1547CB93A8B1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5" creationId="{2391C029-4719-4218-9695-02AFF605BD73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6" creationId="{15D6FB3E-4F18-47F7-B04A-6A8456F0D97B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7" creationId="{86CCFA72-3587-412D-A47A-25FC1F4FAF67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8" creationId="{8251A3E3-2BEB-45B4-B7D9-1FC26A387877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19" creationId="{D12704C8-4C48-4A33-BDD0-5B24B30D8FB7}"/>
          </ac:spMkLst>
        </pc:spChg>
        <pc:spChg chg="add del mod">
          <ac:chgData name="Annette Ysland Ludvigsen" userId="5cc2156a-4192-4fe6-8372-bcf947567e0f" providerId="ADAL" clId="{29604A7C-77EF-4D8C-A274-1EAA9DB0101B}" dt="2021-06-10T09:37:28.437" v="3029"/>
          <ac:spMkLst>
            <pc:docMk/>
            <pc:sldMk cId="372819754" sldId="3544"/>
            <ac:spMk id="20" creationId="{6B094A59-6DDD-4A9D-8C6E-A5349117AC24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0" creationId="{A1D5B6B9-1463-46D6-AC30-4BE7F885DF51}"/>
          </ac:spMkLst>
        </pc:spChg>
        <pc:spChg chg="add del mod">
          <ac:chgData name="Annette Ysland Ludvigsen" userId="5cc2156a-4192-4fe6-8372-bcf947567e0f" providerId="ADAL" clId="{29604A7C-77EF-4D8C-A274-1EAA9DB0101B}" dt="2021-06-10T09:37:28.437" v="3029"/>
          <ac:spMkLst>
            <pc:docMk/>
            <pc:sldMk cId="372819754" sldId="3544"/>
            <ac:spMk id="21" creationId="{2CFBB994-05CC-4FE3-BE57-9F0159BBAB04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1" creationId="{C13CB272-73DB-48E0-BA4C-F1B03DA62AB0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2" creationId="{0BA39E19-5D98-4F9D-B38E-690B043A6ED4}"/>
          </ac:spMkLst>
        </pc:spChg>
        <pc:spChg chg="add del mod">
          <ac:chgData name="Annette Ysland Ludvigsen" userId="5cc2156a-4192-4fe6-8372-bcf947567e0f" providerId="ADAL" clId="{29604A7C-77EF-4D8C-A274-1EAA9DB0101B}" dt="2021-06-10T09:37:28.437" v="3029"/>
          <ac:spMkLst>
            <pc:docMk/>
            <pc:sldMk cId="372819754" sldId="3544"/>
            <ac:spMk id="22" creationId="{87CAD39B-EE87-46BC-907C-7FDDC83C3006}"/>
          </ac:spMkLst>
        </pc:spChg>
        <pc:spChg chg="add mod">
          <ac:chgData name="Annette Ysland Ludvigsen" userId="5cc2156a-4192-4fe6-8372-bcf947567e0f" providerId="ADAL" clId="{29604A7C-77EF-4D8C-A274-1EAA9DB0101B}" dt="2021-06-10T09:38:19.427" v="3141" actId="1076"/>
          <ac:spMkLst>
            <pc:docMk/>
            <pc:sldMk cId="372819754" sldId="3544"/>
            <ac:spMk id="23" creationId="{14EC843E-C768-4EF2-A382-A499E058268E}"/>
          </ac:spMkLst>
        </pc:spChg>
        <pc:spChg chg="add mod">
          <ac:chgData name="Annette Ysland Ludvigsen" userId="5cc2156a-4192-4fe6-8372-bcf947567e0f" providerId="ADAL" clId="{29604A7C-77EF-4D8C-A274-1EAA9DB0101B}" dt="2021-06-14T05:23:40.427" v="6903" actId="1076"/>
          <ac:spMkLst>
            <pc:docMk/>
            <pc:sldMk cId="372819754" sldId="3544"/>
            <ac:spMk id="24" creationId="{088E9E59-30DC-4648-8BEA-ABE59BC6D25C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5" creationId="{ED2123CC-5F08-447E-A41A-DE3993A04B0C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6" creationId="{7C05E921-3BB5-4267-8845-7F0A67616912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27" creationId="{1AE89598-3FF9-40EC-A086-9E8525CF79E2}"/>
          </ac:spMkLst>
        </pc:spChg>
        <pc:spChg chg="add del mod">
          <ac:chgData name="Annette Ysland Ludvigsen" userId="5cc2156a-4192-4fe6-8372-bcf947567e0f" providerId="ADAL" clId="{29604A7C-77EF-4D8C-A274-1EAA9DB0101B}" dt="2021-06-14T05:23:37.640" v="6902" actId="478"/>
          <ac:spMkLst>
            <pc:docMk/>
            <pc:sldMk cId="372819754" sldId="3544"/>
            <ac:spMk id="38" creationId="{CF22FB54-0F3E-43A1-B45F-FBBF87752036}"/>
          </ac:spMkLst>
        </pc:sp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11" creationId="{29B37E29-2194-45FA-BF50-45026BFA94E6}"/>
          </ac:cxnSpMkLst>
        </pc:cxn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29" creationId="{4EA8B8CB-7CF4-4665-8510-9D0F865604B0}"/>
          </ac:cxnSpMkLst>
        </pc:cxn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31" creationId="{E0FF9004-E38C-4518-9258-6DBF8FCF1442}"/>
          </ac:cxnSpMkLst>
        </pc:cxn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33" creationId="{259C298E-3455-4DF7-80EC-01A89B0860DF}"/>
          </ac:cxnSpMkLst>
        </pc:cxn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35" creationId="{42C325FB-9AE3-4266-A8FC-9D957362251A}"/>
          </ac:cxnSpMkLst>
        </pc:cxnChg>
        <pc:cxnChg chg="add del mod">
          <ac:chgData name="Annette Ysland Ludvigsen" userId="5cc2156a-4192-4fe6-8372-bcf947567e0f" providerId="ADAL" clId="{29604A7C-77EF-4D8C-A274-1EAA9DB0101B}" dt="2021-06-14T05:23:37.640" v="6902" actId="478"/>
          <ac:cxnSpMkLst>
            <pc:docMk/>
            <pc:sldMk cId="372819754" sldId="3544"/>
            <ac:cxnSpMk id="37" creationId="{AF573A1D-718A-4B15-833F-59B7FEB2AB2B}"/>
          </ac:cxnSpMkLst>
        </pc:cxnChg>
      </pc:sldChg>
      <pc:sldChg chg="add del">
        <pc:chgData name="Annette Ysland Ludvigsen" userId="5cc2156a-4192-4fe6-8372-bcf947567e0f" providerId="ADAL" clId="{29604A7C-77EF-4D8C-A274-1EAA9DB0101B}" dt="2021-06-09T07:47:19.173" v="1212" actId="47"/>
        <pc:sldMkLst>
          <pc:docMk/>
          <pc:sldMk cId="2994495101" sldId="3544"/>
        </pc:sldMkLst>
      </pc:sldChg>
      <pc:sldChg chg="addSp delSp modSp new mod delAnim modAnim">
        <pc:chgData name="Annette Ysland Ludvigsen" userId="5cc2156a-4192-4fe6-8372-bcf947567e0f" providerId="ADAL" clId="{29604A7C-77EF-4D8C-A274-1EAA9DB0101B}" dt="2021-06-14T05:24:07.998" v="6905" actId="1076"/>
        <pc:sldMkLst>
          <pc:docMk/>
          <pc:sldMk cId="470860945" sldId="3545"/>
        </pc:sldMkLst>
        <pc:spChg chg="mod">
          <ac:chgData name="Annette Ysland Ludvigsen" userId="5cc2156a-4192-4fe6-8372-bcf947567e0f" providerId="ADAL" clId="{29604A7C-77EF-4D8C-A274-1EAA9DB0101B}" dt="2021-06-10T20:04:44.847" v="4489" actId="1076"/>
          <ac:spMkLst>
            <pc:docMk/>
            <pc:sldMk cId="470860945" sldId="3545"/>
            <ac:spMk id="2" creationId="{AD78C2BF-2EA2-4F0E-81A1-42F0B7FBF72C}"/>
          </ac:spMkLst>
        </pc:spChg>
        <pc:spChg chg="mod">
          <ac:chgData name="Annette Ysland Ludvigsen" userId="5cc2156a-4192-4fe6-8372-bcf947567e0f" providerId="ADAL" clId="{29604A7C-77EF-4D8C-A274-1EAA9DB0101B}" dt="2021-06-14T05:24:07.998" v="6905" actId="1076"/>
          <ac:spMkLst>
            <pc:docMk/>
            <pc:sldMk cId="470860945" sldId="3545"/>
            <ac:spMk id="3" creationId="{6DE4573C-DC99-4AA0-9739-4122279D3926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4" creationId="{A45607D8-DD39-4573-BD74-5D2966DE1BEE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5" creationId="{D8C5545A-9708-4542-9DDD-B6152F7DB3CB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6" creationId="{A63F4589-A655-4ACE-93EE-3464EA654F37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7" creationId="{021F5AEB-13AE-4000-B8C4-055F13CC8F87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8" creationId="{48952903-0FED-4B55-9B95-7C7D1BB3FB7C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9" creationId="{B1A166B2-DFB6-40CA-B016-CE56CCFCD980}"/>
          </ac:spMkLst>
        </pc:spChg>
        <pc:spChg chg="add del mod">
          <ac:chgData name="Annette Ysland Ludvigsen" userId="5cc2156a-4192-4fe6-8372-bcf947567e0f" providerId="ADAL" clId="{29604A7C-77EF-4D8C-A274-1EAA9DB0101B}" dt="2021-06-10T09:43:35.801" v="3207" actId="478"/>
          <ac:spMkLst>
            <pc:docMk/>
            <pc:sldMk cId="470860945" sldId="3545"/>
            <ac:spMk id="10" creationId="{7B4422BA-65DB-40EE-8947-65F26F4FB5B4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1" creationId="{E176C9FA-35B6-4B92-8AE6-13A046C35F15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2" creationId="{B8E7A993-6417-4FF2-A5F1-65CEAC8807F3}"/>
          </ac:spMkLst>
        </pc:spChg>
        <pc:spChg chg="add del mod">
          <ac:chgData name="Annette Ysland Ludvigsen" userId="5cc2156a-4192-4fe6-8372-bcf947567e0f" providerId="ADAL" clId="{29604A7C-77EF-4D8C-A274-1EAA9DB0101B}" dt="2021-06-10T09:43:38.007" v="3208" actId="478"/>
          <ac:spMkLst>
            <pc:docMk/>
            <pc:sldMk cId="470860945" sldId="3545"/>
            <ac:spMk id="13" creationId="{59D87FC2-4F78-4990-B8D8-3A05B188005C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4" creationId="{15E2A36B-5988-4765-A263-A7C54B4C17DF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5" creationId="{B089B49E-CFB7-4238-B0DC-7C64C9A2CD51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6" creationId="{695B82B0-6446-4ED0-8EAB-91D777F8B75D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7" creationId="{A06CA03E-625A-435F-9679-58D5EFEE8529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8" creationId="{B94E6C56-9249-4264-873D-B0075E835AA2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19" creationId="{75CFC0F9-F946-4203-9406-61CC805FA9DD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20" creationId="{8F417892-4C1C-493A-8EC5-9932F2090C1F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21" creationId="{40035E00-07F7-4A9F-B5AC-E25B10C178B4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22" creationId="{3D273245-D67C-440D-9021-E6441AD78A19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23" creationId="{7EC62CA9-24F3-4C04-8D22-8CC15F139869}"/>
          </ac:spMkLst>
        </pc:spChg>
        <pc:spChg chg="add del mod">
          <ac:chgData name="Annette Ysland Ludvigsen" userId="5cc2156a-4192-4fe6-8372-bcf947567e0f" providerId="ADAL" clId="{29604A7C-77EF-4D8C-A274-1EAA9DB0101B}" dt="2021-06-14T05:24:05.112" v="6904" actId="478"/>
          <ac:spMkLst>
            <pc:docMk/>
            <pc:sldMk cId="470860945" sldId="3545"/>
            <ac:spMk id="24" creationId="{F952482B-1BB3-463E-8809-9222407EA467}"/>
          </ac:spMkLst>
        </pc:spChg>
        <pc:cxnChg chg="add del mod">
          <ac:chgData name="Annette Ysland Ludvigsen" userId="5cc2156a-4192-4fe6-8372-bcf947567e0f" providerId="ADAL" clId="{29604A7C-77EF-4D8C-A274-1EAA9DB0101B}" dt="2021-06-14T05:24:05.112" v="6904" actId="478"/>
          <ac:cxnSpMkLst>
            <pc:docMk/>
            <pc:sldMk cId="470860945" sldId="3545"/>
            <ac:cxnSpMk id="13" creationId="{63F09AFD-80E9-414E-BF38-DFEEE53B3686}"/>
          </ac:cxnSpMkLst>
        </pc:cxnChg>
        <pc:cxnChg chg="add del mod">
          <ac:chgData name="Annette Ysland Ludvigsen" userId="5cc2156a-4192-4fe6-8372-bcf947567e0f" providerId="ADAL" clId="{29604A7C-77EF-4D8C-A274-1EAA9DB0101B}" dt="2021-06-14T05:24:05.112" v="6904" actId="478"/>
          <ac:cxnSpMkLst>
            <pc:docMk/>
            <pc:sldMk cId="470860945" sldId="3545"/>
            <ac:cxnSpMk id="26" creationId="{C359072C-6FC0-4E2A-BCD6-4A02986243D5}"/>
          </ac:cxnSpMkLst>
        </pc:cxnChg>
        <pc:cxnChg chg="add del mod">
          <ac:chgData name="Annette Ysland Ludvigsen" userId="5cc2156a-4192-4fe6-8372-bcf947567e0f" providerId="ADAL" clId="{29604A7C-77EF-4D8C-A274-1EAA9DB0101B}" dt="2021-06-14T05:24:05.112" v="6904" actId="478"/>
          <ac:cxnSpMkLst>
            <pc:docMk/>
            <pc:sldMk cId="470860945" sldId="3545"/>
            <ac:cxnSpMk id="28" creationId="{42D4FFBE-81FF-48B7-9B71-212888329DC4}"/>
          </ac:cxnSpMkLst>
        </pc:cxnChg>
        <pc:cxnChg chg="add del mod">
          <ac:chgData name="Annette Ysland Ludvigsen" userId="5cc2156a-4192-4fe6-8372-bcf947567e0f" providerId="ADAL" clId="{29604A7C-77EF-4D8C-A274-1EAA9DB0101B}" dt="2021-06-14T05:24:05.112" v="6904" actId="478"/>
          <ac:cxnSpMkLst>
            <pc:docMk/>
            <pc:sldMk cId="470860945" sldId="3545"/>
            <ac:cxnSpMk id="30" creationId="{8EFCF1E2-5C0F-40E4-97E1-B0842D9507FC}"/>
          </ac:cxnSpMkLst>
        </pc:cxnChg>
        <pc:cxnChg chg="add del mod">
          <ac:chgData name="Annette Ysland Ludvigsen" userId="5cc2156a-4192-4fe6-8372-bcf947567e0f" providerId="ADAL" clId="{29604A7C-77EF-4D8C-A274-1EAA9DB0101B}" dt="2021-06-14T05:24:05.112" v="6904" actId="478"/>
          <ac:cxnSpMkLst>
            <pc:docMk/>
            <pc:sldMk cId="470860945" sldId="3545"/>
            <ac:cxnSpMk id="32" creationId="{26DCD3EF-9CB8-47E5-8D49-173D56A25233}"/>
          </ac:cxnSpMkLst>
        </pc:cxnChg>
      </pc:sldChg>
      <pc:sldChg chg="addSp delSp modSp add mod ord delAnim modAnim">
        <pc:chgData name="Annette Ysland Ludvigsen" userId="5cc2156a-4192-4fe6-8372-bcf947567e0f" providerId="ADAL" clId="{29604A7C-77EF-4D8C-A274-1EAA9DB0101B}" dt="2021-06-14T05:37:19.179" v="7385" actId="1076"/>
        <pc:sldMkLst>
          <pc:docMk/>
          <pc:sldMk cId="2256189527" sldId="3546"/>
        </pc:sldMkLst>
        <pc:spChg chg="add mod ord">
          <ac:chgData name="Annette Ysland Ludvigsen" userId="5cc2156a-4192-4fe6-8372-bcf947567e0f" providerId="ADAL" clId="{29604A7C-77EF-4D8C-A274-1EAA9DB0101B}" dt="2021-06-11T05:33:16.669" v="5562" actId="1582"/>
          <ac:spMkLst>
            <pc:docMk/>
            <pc:sldMk cId="2256189527" sldId="3546"/>
            <ac:spMk id="2" creationId="{ACE6917A-F125-4F92-846A-03C6AF4D0FCB}"/>
          </ac:spMkLst>
        </pc:spChg>
        <pc:spChg chg="add mod">
          <ac:chgData name="Annette Ysland Ludvigsen" userId="5cc2156a-4192-4fe6-8372-bcf947567e0f" providerId="ADAL" clId="{29604A7C-77EF-4D8C-A274-1EAA9DB0101B}" dt="2021-06-14T05:27:29.770" v="6963" actId="20577"/>
          <ac:spMkLst>
            <pc:docMk/>
            <pc:sldMk cId="2256189527" sldId="3546"/>
            <ac:spMk id="3" creationId="{DA0599DE-39D5-4FCE-86C9-5BE1B33061CA}"/>
          </ac:spMkLst>
        </pc:spChg>
        <pc:spChg chg="del">
          <ac:chgData name="Annette Ysland Ludvigsen" userId="5cc2156a-4192-4fe6-8372-bcf947567e0f" providerId="ADAL" clId="{29604A7C-77EF-4D8C-A274-1EAA9DB0101B}" dt="2021-06-10T09:59:53.013" v="3570" actId="478"/>
          <ac:spMkLst>
            <pc:docMk/>
            <pc:sldMk cId="2256189527" sldId="3546"/>
            <ac:spMk id="6" creationId="{0A53531A-43F2-4DC5-A2E6-F3DCB23EA9D5}"/>
          </ac:spMkLst>
        </pc:spChg>
        <pc:spChg chg="del">
          <ac:chgData name="Annette Ysland Ludvigsen" userId="5cc2156a-4192-4fe6-8372-bcf947567e0f" providerId="ADAL" clId="{29604A7C-77EF-4D8C-A274-1EAA9DB0101B}" dt="2021-06-10T20:25:05.594" v="5043" actId="478"/>
          <ac:spMkLst>
            <pc:docMk/>
            <pc:sldMk cId="2256189527" sldId="3546"/>
            <ac:spMk id="8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10T09:59:45.915" v="3565" actId="478"/>
          <ac:spMkLst>
            <pc:docMk/>
            <pc:sldMk cId="2256189527" sldId="3546"/>
            <ac:spMk id="9" creationId="{CD80E80A-21A6-4BBE-A8AA-5D3DCF516EBA}"/>
          </ac:spMkLst>
        </pc:spChg>
        <pc:spChg chg="mod">
          <ac:chgData name="Annette Ysland Ludvigsen" userId="5cc2156a-4192-4fe6-8372-bcf947567e0f" providerId="ADAL" clId="{29604A7C-77EF-4D8C-A274-1EAA9DB0101B}" dt="2021-06-10T19:21:43.033" v="3880" actId="1076"/>
          <ac:spMkLst>
            <pc:docMk/>
            <pc:sldMk cId="2256189527" sldId="3546"/>
            <ac:spMk id="10" creationId="{00000000-0000-0000-0000-000000000000}"/>
          </ac:spMkLst>
        </pc:spChg>
        <pc:spChg chg="mod">
          <ac:chgData name="Annette Ysland Ludvigsen" userId="5cc2156a-4192-4fe6-8372-bcf947567e0f" providerId="ADAL" clId="{29604A7C-77EF-4D8C-A274-1EAA9DB0101B}" dt="2021-06-10T19:21:43.033" v="3880" actId="1076"/>
          <ac:spMkLst>
            <pc:docMk/>
            <pc:sldMk cId="2256189527" sldId="3546"/>
            <ac:spMk id="14" creationId="{00000000-0000-0000-0000-000000000000}"/>
          </ac:spMkLst>
        </pc:spChg>
        <pc:spChg chg="del">
          <ac:chgData name="Annette Ysland Ludvigsen" userId="5cc2156a-4192-4fe6-8372-bcf947567e0f" providerId="ADAL" clId="{29604A7C-77EF-4D8C-A274-1EAA9DB0101B}" dt="2021-06-10T09:59:48.310" v="3567" actId="478"/>
          <ac:spMkLst>
            <pc:docMk/>
            <pc:sldMk cId="2256189527" sldId="3546"/>
            <ac:spMk id="15" creationId="{D2E9D8B7-1553-4528-835C-2A62F3512EF2}"/>
          </ac:spMkLst>
        </pc:spChg>
        <pc:spChg chg="del mod">
          <ac:chgData name="Annette Ysland Ludvigsen" userId="5cc2156a-4192-4fe6-8372-bcf947567e0f" providerId="ADAL" clId="{29604A7C-77EF-4D8C-A274-1EAA9DB0101B}" dt="2021-06-10T20:24:55.539" v="5040" actId="478"/>
          <ac:spMkLst>
            <pc:docMk/>
            <pc:sldMk cId="2256189527" sldId="3546"/>
            <ac:spMk id="23" creationId="{00000000-0000-0000-0000-000000000000}"/>
          </ac:spMkLst>
        </pc:spChg>
        <pc:spChg chg="add mod">
          <ac:chgData name="Annette Ysland Ludvigsen" userId="5cc2156a-4192-4fe6-8372-bcf947567e0f" providerId="ADAL" clId="{29604A7C-77EF-4D8C-A274-1EAA9DB0101B}" dt="2021-06-14T05:29:12.486" v="7033" actId="1076"/>
          <ac:spMkLst>
            <pc:docMk/>
            <pc:sldMk cId="2256189527" sldId="3546"/>
            <ac:spMk id="36" creationId="{1E230AB8-25D6-450D-8BD8-B0E161407186}"/>
          </ac:spMkLst>
        </pc:spChg>
        <pc:spChg chg="add mod">
          <ac:chgData name="Annette Ysland Ludvigsen" userId="5cc2156a-4192-4fe6-8372-bcf947567e0f" providerId="ADAL" clId="{29604A7C-77EF-4D8C-A274-1EAA9DB0101B}" dt="2021-06-14T05:27:52.460" v="6988" actId="20577"/>
          <ac:spMkLst>
            <pc:docMk/>
            <pc:sldMk cId="2256189527" sldId="3546"/>
            <ac:spMk id="37" creationId="{D7C2D278-ED52-4485-AC24-F20D6CE20EB9}"/>
          </ac:spMkLst>
        </pc:spChg>
        <pc:spChg chg="add mod">
          <ac:chgData name="Annette Ysland Ludvigsen" userId="5cc2156a-4192-4fe6-8372-bcf947567e0f" providerId="ADAL" clId="{29604A7C-77EF-4D8C-A274-1EAA9DB0101B}" dt="2021-06-14T05:30:48.067" v="7201" actId="20577"/>
          <ac:spMkLst>
            <pc:docMk/>
            <pc:sldMk cId="2256189527" sldId="3546"/>
            <ac:spMk id="39" creationId="{0725F763-24B1-4075-8749-FD9325A1AF81}"/>
          </ac:spMkLst>
        </pc:spChg>
        <pc:spChg chg="add mod">
          <ac:chgData name="Annette Ysland Ludvigsen" userId="5cc2156a-4192-4fe6-8372-bcf947567e0f" providerId="ADAL" clId="{29604A7C-77EF-4D8C-A274-1EAA9DB0101B}" dt="2021-06-14T05:30:53.007" v="7202" actId="1076"/>
          <ac:spMkLst>
            <pc:docMk/>
            <pc:sldMk cId="2256189527" sldId="3546"/>
            <ac:spMk id="40" creationId="{04A3178F-4E18-4CE5-971D-1E3500224C19}"/>
          </ac:spMkLst>
        </pc:spChg>
        <pc:spChg chg="add mod">
          <ac:chgData name="Annette Ysland Ludvigsen" userId="5cc2156a-4192-4fe6-8372-bcf947567e0f" providerId="ADAL" clId="{29604A7C-77EF-4D8C-A274-1EAA9DB0101B}" dt="2021-06-14T05:37:19.179" v="7385" actId="1076"/>
          <ac:spMkLst>
            <pc:docMk/>
            <pc:sldMk cId="2256189527" sldId="3546"/>
            <ac:spMk id="41" creationId="{DAD2EC23-E8C1-4F8C-B2A0-B62B80F47A3B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44" creationId="{56D60008-CBA0-4AC4-A2D7-B7D88AAD02BF}"/>
          </ac:spMkLst>
        </pc:spChg>
        <pc:spChg chg="del">
          <ac:chgData name="Annette Ysland Ludvigsen" userId="5cc2156a-4192-4fe6-8372-bcf947567e0f" providerId="ADAL" clId="{29604A7C-77EF-4D8C-A274-1EAA9DB0101B}" dt="2021-06-10T09:59:49.530" v="3568" actId="478"/>
          <ac:spMkLst>
            <pc:docMk/>
            <pc:sldMk cId="2256189527" sldId="3546"/>
            <ac:spMk id="45" creationId="{CFA66FF9-F1A3-48C0-9215-7452062392E5}"/>
          </ac:spMkLst>
        </pc:spChg>
        <pc:spChg chg="del">
          <ac:chgData name="Annette Ysland Ludvigsen" userId="5cc2156a-4192-4fe6-8372-bcf947567e0f" providerId="ADAL" clId="{29604A7C-77EF-4D8C-A274-1EAA9DB0101B}" dt="2021-06-10T09:59:51.276" v="3569" actId="478"/>
          <ac:spMkLst>
            <pc:docMk/>
            <pc:sldMk cId="2256189527" sldId="3546"/>
            <ac:spMk id="46" creationId="{22E97D8D-F9D2-450D-9437-F4600E0B48DC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47" creationId="{95A79ED7-BD08-43CF-8DB6-6BF2DC642F2D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48" creationId="{20BE653F-E3D0-45B6-B2E8-24EF5515AC76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49" creationId="{AFA93B52-92ED-431A-82EB-8A78C197D417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50" creationId="{948E27B0-86AC-4202-B1E1-78597EF595CE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51" creationId="{62719B2A-7024-46FD-98EF-4705EB0551F4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52" creationId="{F2B310A3-247B-48AF-92EC-A55071A2F174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53" creationId="{88A40BDF-A223-4C32-A611-14A6F9153A4D}"/>
          </ac:spMkLst>
        </pc:spChg>
        <pc:spChg chg="add del mod">
          <ac:chgData name="Annette Ysland Ludvigsen" userId="5cc2156a-4192-4fe6-8372-bcf947567e0f" providerId="ADAL" clId="{29604A7C-77EF-4D8C-A274-1EAA9DB0101B}" dt="2021-06-10T10:26:59.808" v="3725"/>
          <ac:spMkLst>
            <pc:docMk/>
            <pc:sldMk cId="2256189527" sldId="3546"/>
            <ac:spMk id="54" creationId="{3E65A430-54D6-4D7D-B837-F4E3D7FA28DB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58" creationId="{A9499193-6265-44F2-9905-FC7443392D0E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59" creationId="{E953F2BE-2D2F-4D28-B958-1CE94670AF24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0" creationId="{5880E195-BC5E-48A2-BB67-7F040CCABA96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1" creationId="{BDE58F52-8BB0-4CBE-8C06-67422ED7E056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2" creationId="{9E79A5A1-72B5-4D67-BB10-B4DDDB4C5FC2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3" creationId="{B4FC6720-4CA8-45EA-9EB1-8921CF5A3F39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4" creationId="{8D1B03BC-7436-40D5-ABFD-934B499D972A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5" creationId="{C5C1319A-9232-43C4-87D9-1292E089EDD1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6" creationId="{6F282B99-2279-42A8-ABC8-E5B1D2FFD9C8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7" creationId="{DA1CCB4C-7EB7-400A-AABA-919E62BB90CF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8" creationId="{A332D57D-B061-4231-A200-55A8E71484EE}"/>
          </ac:spMkLst>
        </pc:spChg>
        <pc:spChg chg="add del mod">
          <ac:chgData name="Annette Ysland Ludvigsen" userId="5cc2156a-4192-4fe6-8372-bcf947567e0f" providerId="ADAL" clId="{29604A7C-77EF-4D8C-A274-1EAA9DB0101B}" dt="2021-06-10T19:21:47.098" v="3884"/>
          <ac:spMkLst>
            <pc:docMk/>
            <pc:sldMk cId="2256189527" sldId="3546"/>
            <ac:spMk id="69" creationId="{4C125791-7B6C-4CC8-A9B9-5C482824FB47}"/>
          </ac:spMkLst>
        </pc:spChg>
        <pc:spChg chg="add mod">
          <ac:chgData name="Annette Ysland Ludvigsen" userId="5cc2156a-4192-4fe6-8372-bcf947567e0f" providerId="ADAL" clId="{29604A7C-77EF-4D8C-A274-1EAA9DB0101B}" dt="2021-06-10T20:04:57.371" v="4491" actId="571"/>
          <ac:spMkLst>
            <pc:docMk/>
            <pc:sldMk cId="2256189527" sldId="3546"/>
            <ac:spMk id="72" creationId="{E56BDE71-86BF-44E0-AFFF-B836C13B1255}"/>
          </ac:spMkLst>
        </pc:spChg>
        <pc:spChg chg="add mod">
          <ac:chgData name="Annette Ysland Ludvigsen" userId="5cc2156a-4192-4fe6-8372-bcf947567e0f" providerId="ADAL" clId="{29604A7C-77EF-4D8C-A274-1EAA9DB0101B}" dt="2021-06-10T20:04:57.371" v="4491" actId="571"/>
          <ac:spMkLst>
            <pc:docMk/>
            <pc:sldMk cId="2256189527" sldId="3546"/>
            <ac:spMk id="73" creationId="{59EB8B0E-E9BE-4DCA-B48E-CA3C3893FE35}"/>
          </ac:spMkLst>
        </pc:spChg>
        <pc:spChg chg="add mod">
          <ac:chgData name="Annette Ysland Ludvigsen" userId="5cc2156a-4192-4fe6-8372-bcf947567e0f" providerId="ADAL" clId="{29604A7C-77EF-4D8C-A274-1EAA9DB0101B}" dt="2021-06-10T20:04:57.371" v="4491" actId="571"/>
          <ac:spMkLst>
            <pc:docMk/>
            <pc:sldMk cId="2256189527" sldId="3546"/>
            <ac:spMk id="74" creationId="{CB7A5AD0-0968-41E1-A0F4-A4594F81AB58}"/>
          </ac:spMkLst>
        </pc:spChg>
        <pc:spChg chg="del">
          <ac:chgData name="Annette Ysland Ludvigsen" userId="5cc2156a-4192-4fe6-8372-bcf947567e0f" providerId="ADAL" clId="{29604A7C-77EF-4D8C-A274-1EAA9DB0101B}" dt="2021-06-10T20:25:07.579" v="5044" actId="478"/>
          <ac:spMkLst>
            <pc:docMk/>
            <pc:sldMk cId="2256189527" sldId="3546"/>
            <ac:spMk id="88" creationId="{5C3250A7-2CE8-4083-9856-4A333134EEC6}"/>
          </ac:spMkLst>
        </pc:spChg>
        <pc:spChg chg="mod">
          <ac:chgData name="Annette Ysland Ludvigsen" userId="5cc2156a-4192-4fe6-8372-bcf947567e0f" providerId="ADAL" clId="{29604A7C-77EF-4D8C-A274-1EAA9DB0101B}" dt="2021-06-10T19:21:43.033" v="3880" actId="1076"/>
          <ac:spMkLst>
            <pc:docMk/>
            <pc:sldMk cId="2256189527" sldId="3546"/>
            <ac:spMk id="90" creationId="{C7B5C968-7D59-4190-9F3A-13BBDBFC19FB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92" creationId="{5265243F-AE02-40F4-9350-4B5A0812721D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13" creationId="{0FC9E4D4-DE55-4588-BEBD-80201151A4F7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14" creationId="{4AF6FB2D-50FD-4031-A3A4-A203365FCC22}"/>
          </ac:spMkLst>
        </pc:spChg>
        <pc:spChg chg="mod">
          <ac:chgData name="Annette Ysland Ludvigsen" userId="5cc2156a-4192-4fe6-8372-bcf947567e0f" providerId="ADAL" clId="{29604A7C-77EF-4D8C-A274-1EAA9DB0101B}" dt="2021-06-10T20:25:29.374" v="5045" actId="1076"/>
          <ac:spMkLst>
            <pc:docMk/>
            <pc:sldMk cId="2256189527" sldId="3546"/>
            <ac:spMk id="117" creationId="{4228F3B3-5549-47FB-8A37-C22D9A2A0307}"/>
          </ac:spMkLst>
        </pc:spChg>
        <pc:spChg chg="mod">
          <ac:chgData name="Annette Ysland Ludvigsen" userId="5cc2156a-4192-4fe6-8372-bcf947567e0f" providerId="ADAL" clId="{29604A7C-77EF-4D8C-A274-1EAA9DB0101B}" dt="2021-06-10T19:21:43.033" v="3880" actId="1076"/>
          <ac:spMkLst>
            <pc:docMk/>
            <pc:sldMk cId="2256189527" sldId="3546"/>
            <ac:spMk id="118" creationId="{5DF0A21D-D503-4B4C-BD09-DC82DB4C6848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23" creationId="{32185FC5-8D70-4FB6-9600-37049C9CA2C6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24" creationId="{7C784CF9-08C9-4583-9FD2-85FAACF2447A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26" creationId="{B5800102-E4C2-4940-B135-CA76E078991A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37" creationId="{978AF6FC-1B59-4D59-88A6-4DF06A17D44A}"/>
          </ac:spMkLst>
        </pc:spChg>
        <pc:spChg chg="mod">
          <ac:chgData name="Annette Ysland Ludvigsen" userId="5cc2156a-4192-4fe6-8372-bcf947567e0f" providerId="ADAL" clId="{29604A7C-77EF-4D8C-A274-1EAA9DB0101B}" dt="2021-06-10T20:05:05.399" v="4492" actId="207"/>
          <ac:spMkLst>
            <pc:docMk/>
            <pc:sldMk cId="2256189527" sldId="3546"/>
            <ac:spMk id="138" creationId="{A12FD68B-0BA1-41D3-9E00-A8D09D00D145}"/>
          </ac:spMkLst>
        </pc:spChg>
        <pc:picChg chg="del">
          <ac:chgData name="Annette Ysland Ludvigsen" userId="5cc2156a-4192-4fe6-8372-bcf947567e0f" providerId="ADAL" clId="{29604A7C-77EF-4D8C-A274-1EAA9DB0101B}" dt="2021-06-10T09:59:47.644" v="3566" actId="478"/>
          <ac:picMkLst>
            <pc:docMk/>
            <pc:sldMk cId="2256189527" sldId="3546"/>
            <ac:picMk id="4" creationId="{5C1EF5F4-6DC3-45A4-A8E4-5D80F5B41EA3}"/>
          </ac:picMkLst>
        </pc:pic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11" creationId="{4395D89F-9B1D-453D-88B2-D0C4AA949625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27" creationId="{DA577178-C48F-40AC-8BEA-B09D30B7B69B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32" creationId="{AB6F172F-8F70-4F15-BB8A-2A5FBCFCED7D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38" creationId="{42B526F7-70A0-4EB1-BC42-6656DA45AFF8}"/>
          </ac:cxnSpMkLst>
        </pc:cxnChg>
        <pc:cxnChg chg="add del mod">
          <ac:chgData name="Annette Ysland Ludvigsen" userId="5cc2156a-4192-4fe6-8372-bcf947567e0f" providerId="ADAL" clId="{29604A7C-77EF-4D8C-A274-1EAA9DB0101B}" dt="2021-06-10T10:26:59.808" v="3725"/>
          <ac:cxnSpMkLst>
            <pc:docMk/>
            <pc:sldMk cId="2256189527" sldId="3546"/>
            <ac:cxnSpMk id="55" creationId="{ABFB375E-A595-4D81-BE48-2952E40EF70B}"/>
          </ac:cxnSpMkLst>
        </pc:cxnChg>
        <pc:cxnChg chg="add del mod">
          <ac:chgData name="Annette Ysland Ludvigsen" userId="5cc2156a-4192-4fe6-8372-bcf947567e0f" providerId="ADAL" clId="{29604A7C-77EF-4D8C-A274-1EAA9DB0101B}" dt="2021-06-10T10:26:59.808" v="3725"/>
          <ac:cxnSpMkLst>
            <pc:docMk/>
            <pc:sldMk cId="2256189527" sldId="3546"/>
            <ac:cxnSpMk id="56" creationId="{DBFB9D73-1D69-4E7B-8EB4-5388B8387D36}"/>
          </ac:cxnSpMkLst>
        </pc:cxnChg>
        <pc:cxnChg chg="add del mod">
          <ac:chgData name="Annette Ysland Ludvigsen" userId="5cc2156a-4192-4fe6-8372-bcf947567e0f" providerId="ADAL" clId="{29604A7C-77EF-4D8C-A274-1EAA9DB0101B}" dt="2021-06-10T10:26:59.808" v="3725"/>
          <ac:cxnSpMkLst>
            <pc:docMk/>
            <pc:sldMk cId="2256189527" sldId="3546"/>
            <ac:cxnSpMk id="57" creationId="{81138AA8-7FBB-46AA-B7AE-503B61B24365}"/>
          </ac:cxnSpMkLst>
        </pc:cxnChg>
        <pc:cxnChg chg="mod">
          <ac:chgData name="Annette Ysland Ludvigsen" userId="5cc2156a-4192-4fe6-8372-bcf947567e0f" providerId="ADAL" clId="{29604A7C-77EF-4D8C-A274-1EAA9DB0101B}" dt="2021-06-10T20:25:02.475" v="5042" actId="1076"/>
          <ac:cxnSpMkLst>
            <pc:docMk/>
            <pc:sldMk cId="2256189527" sldId="3546"/>
            <ac:cxnSpMk id="78" creationId="{8985A469-5846-463F-8262-F298A4F9AE5C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89" creationId="{53E93D0E-E669-4F5F-9D91-7CC990B2DAA7}"/>
          </ac:cxnSpMkLst>
        </pc:cxnChg>
        <pc:cxnChg chg="mod">
          <ac:chgData name="Annette Ysland Ludvigsen" userId="5cc2156a-4192-4fe6-8372-bcf947567e0f" providerId="ADAL" clId="{29604A7C-77EF-4D8C-A274-1EAA9DB0101B}" dt="2021-06-10T20:25:29.374" v="5045" actId="1076"/>
          <ac:cxnSpMkLst>
            <pc:docMk/>
            <pc:sldMk cId="2256189527" sldId="3546"/>
            <ac:cxnSpMk id="97" creationId="{A9195798-BBDC-47F1-9CE6-1DA1CA2B7B9A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98" creationId="{EF1ADE43-F2DC-482E-872A-368CF24FA13A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107" creationId="{867F0CC5-B63E-463B-A9AC-19FC90385BF0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111" creationId="{CD1E2E20-D7CE-41BB-917C-A0F80D71311C}"/>
          </ac:cxnSpMkLst>
        </pc:cxnChg>
        <pc:cxnChg chg="mod">
          <ac:chgData name="Annette Ysland Ludvigsen" userId="5cc2156a-4192-4fe6-8372-bcf947567e0f" providerId="ADAL" clId="{29604A7C-77EF-4D8C-A274-1EAA9DB0101B}" dt="2021-06-10T19:21:43.033" v="3880" actId="1076"/>
          <ac:cxnSpMkLst>
            <pc:docMk/>
            <pc:sldMk cId="2256189527" sldId="3546"/>
            <ac:cxnSpMk id="141" creationId="{D72F803F-5591-456B-BAF1-7589A573F07B}"/>
          </ac:cxnSpMkLst>
        </pc:cxnChg>
      </pc:sldChg>
      <pc:sldChg chg="new del">
        <pc:chgData name="Annette Ysland Ludvigsen" userId="5cc2156a-4192-4fe6-8372-bcf947567e0f" providerId="ADAL" clId="{29604A7C-77EF-4D8C-A274-1EAA9DB0101B}" dt="2021-06-10T09:53:11.367" v="3392" actId="680"/>
        <pc:sldMkLst>
          <pc:docMk/>
          <pc:sldMk cId="2780134958" sldId="3546"/>
        </pc:sldMkLst>
      </pc:sldChg>
      <pc:sldChg chg="addSp delSp modSp add del mod ord modTransition">
        <pc:chgData name="Annette Ysland Ludvigsen" userId="5cc2156a-4192-4fe6-8372-bcf947567e0f" providerId="ADAL" clId="{29604A7C-77EF-4D8C-A274-1EAA9DB0101B}" dt="2021-06-10T19:29:59.381" v="4010" actId="47"/>
        <pc:sldMkLst>
          <pc:docMk/>
          <pc:sldMk cId="1216815233" sldId="3547"/>
        </pc:sldMkLst>
        <pc:spChg chg="mod">
          <ac:chgData name="Annette Ysland Ludvigsen" userId="5cc2156a-4192-4fe6-8372-bcf947567e0f" providerId="ADAL" clId="{29604A7C-77EF-4D8C-A274-1EAA9DB0101B}" dt="2021-06-10T10:28:59.278" v="3777" actId="1076"/>
          <ac:spMkLst>
            <pc:docMk/>
            <pc:sldMk cId="1216815233" sldId="3547"/>
            <ac:spMk id="40" creationId="{38206E36-B4EF-4A4D-BB4D-8B670C96CA6A}"/>
          </ac:spMkLst>
        </pc:spChg>
        <pc:spChg chg="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53" creationId="{45659B32-B2DF-4E7C-9085-10ED1312A82F}"/>
          </ac:spMkLst>
        </pc:spChg>
        <pc:spChg chg="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56" creationId="{CD3456E5-3B6F-4D25-96D3-DFD05A367E51}"/>
          </ac:spMkLst>
        </pc:spChg>
        <pc:spChg chg="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57" creationId="{C57AAB13-68F6-41ED-AA05-5D479EAC0265}"/>
          </ac:spMkLst>
        </pc:spChg>
        <pc:spChg chg="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78" creationId="{B838E789-9CD4-4B29-A73A-DCB3286587FC}"/>
          </ac:spMkLst>
        </pc:spChg>
        <pc:spChg chg="mod">
          <ac:chgData name="Annette Ysland Ludvigsen" userId="5cc2156a-4192-4fe6-8372-bcf947567e0f" providerId="ADAL" clId="{29604A7C-77EF-4D8C-A274-1EAA9DB0101B}" dt="2021-06-10T19:20:46.812" v="3871" actId="1076"/>
          <ac:spMkLst>
            <pc:docMk/>
            <pc:sldMk cId="1216815233" sldId="3547"/>
            <ac:spMk id="81" creationId="{804F07DD-9776-4A49-B8D4-A01ABD9A632E}"/>
          </ac:spMkLst>
        </pc:spChg>
        <pc:spChg chg="add mod">
          <ac:chgData name="Annette Ysland Ludvigsen" userId="5cc2156a-4192-4fe6-8372-bcf947567e0f" providerId="ADAL" clId="{29604A7C-77EF-4D8C-A274-1EAA9DB0101B}" dt="2021-06-10T19:20:50.236" v="3872" actId="571"/>
          <ac:spMkLst>
            <pc:docMk/>
            <pc:sldMk cId="1216815233" sldId="3547"/>
            <ac:spMk id="89" creationId="{D55B8D53-47C9-4C3B-833E-4292CE4A4D2F}"/>
          </ac:spMkLst>
        </pc:spChg>
        <pc:spChg chg="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93" creationId="{8ACDD6D9-01DF-432C-B3E6-EC36AE99B8CD}"/>
          </ac:spMkLst>
        </pc:spChg>
        <pc:spChg chg="add mod">
          <ac:chgData name="Annette Ysland Ludvigsen" userId="5cc2156a-4192-4fe6-8372-bcf947567e0f" providerId="ADAL" clId="{29604A7C-77EF-4D8C-A274-1EAA9DB0101B}" dt="2021-06-10T19:20:50.236" v="3872" actId="571"/>
          <ac:spMkLst>
            <pc:docMk/>
            <pc:sldMk cId="1216815233" sldId="3547"/>
            <ac:spMk id="94" creationId="{187D82AD-6AAF-4573-86A6-4E26FB7965F3}"/>
          </ac:spMkLst>
        </pc:spChg>
        <pc:spChg chg="add mod">
          <ac:chgData name="Annette Ysland Ludvigsen" userId="5cc2156a-4192-4fe6-8372-bcf947567e0f" providerId="ADAL" clId="{29604A7C-77EF-4D8C-A274-1EAA9DB0101B}" dt="2021-06-10T19:20:50.236" v="3872" actId="571"/>
          <ac:spMkLst>
            <pc:docMk/>
            <pc:sldMk cId="1216815233" sldId="3547"/>
            <ac:spMk id="95" creationId="{DA581DF1-9013-4C0F-848F-0B3AF3AEAC57}"/>
          </ac:spMkLst>
        </pc:spChg>
        <pc:spChg chg="add mod">
          <ac:chgData name="Annette Ysland Ludvigsen" userId="5cc2156a-4192-4fe6-8372-bcf947567e0f" providerId="ADAL" clId="{29604A7C-77EF-4D8C-A274-1EAA9DB0101B}" dt="2021-06-10T19:20:50.236" v="3872" actId="571"/>
          <ac:spMkLst>
            <pc:docMk/>
            <pc:sldMk cId="1216815233" sldId="3547"/>
            <ac:spMk id="96" creationId="{C657FBD2-675B-4395-8D0E-00B80B586155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97" creationId="{96D60178-1A3B-42A7-9B0C-8659380A38DE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101" creationId="{9593C379-B295-4C87-86EB-CA77E0A6BC04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102" creationId="{969ABBF8-D257-47EC-8D44-8A8307713163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103" creationId="{02C2ABB0-9527-4DC4-8D7C-990153FC0B5C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104" creationId="{41C25072-65C6-454E-9D8F-8A668E25F9BC}"/>
          </ac:spMkLst>
        </pc:spChg>
        <pc:spChg chg="add mod">
          <ac:chgData name="Annette Ysland Ludvigsen" userId="5cc2156a-4192-4fe6-8372-bcf947567e0f" providerId="ADAL" clId="{29604A7C-77EF-4D8C-A274-1EAA9DB0101B}" dt="2021-06-10T19:21:00.042" v="3874" actId="688"/>
          <ac:spMkLst>
            <pc:docMk/>
            <pc:sldMk cId="1216815233" sldId="3547"/>
            <ac:spMk id="105" creationId="{9E75BCC9-2F1B-40B3-A036-13BAA762C628}"/>
          </ac:spMkLst>
        </pc:spChg>
        <pc:cxnChg chg="del mod">
          <ac:chgData name="Annette Ysland Ludvigsen" userId="5cc2156a-4192-4fe6-8372-bcf947567e0f" providerId="ADAL" clId="{29604A7C-77EF-4D8C-A274-1EAA9DB0101B}" dt="2021-06-10T10:28:40.329" v="3768" actId="478"/>
          <ac:cxnSpMkLst>
            <pc:docMk/>
            <pc:sldMk cId="1216815233" sldId="3547"/>
            <ac:cxnSpMk id="4" creationId="{905310E4-0B02-42E7-830B-57C9BCAEDE36}"/>
          </ac:cxnSpMkLst>
        </pc:cxnChg>
        <pc:cxnChg chg="del mod">
          <ac:chgData name="Annette Ysland Ludvigsen" userId="5cc2156a-4192-4fe6-8372-bcf947567e0f" providerId="ADAL" clId="{29604A7C-77EF-4D8C-A274-1EAA9DB0101B}" dt="2021-06-10T10:28:36.837" v="3767" actId="478"/>
          <ac:cxnSpMkLst>
            <pc:docMk/>
            <pc:sldMk cId="1216815233" sldId="3547"/>
            <ac:cxnSpMk id="41" creationId="{4DAA72CE-8F0B-4256-B28C-B67CBB6B89AC}"/>
          </ac:cxnSpMkLst>
        </pc:cxnChg>
        <pc:cxnChg chg="mod">
          <ac:chgData name="Annette Ysland Ludvigsen" userId="5cc2156a-4192-4fe6-8372-bcf947567e0f" providerId="ADAL" clId="{29604A7C-77EF-4D8C-A274-1EAA9DB0101B}" dt="2021-06-10T10:29:14.232" v="3784" actId="14100"/>
          <ac:cxnSpMkLst>
            <pc:docMk/>
            <pc:sldMk cId="1216815233" sldId="3547"/>
            <ac:cxnSpMk id="48" creationId="{8B04B6B9-0AF4-4DC6-B4CE-0959EFA0AA87}"/>
          </ac:cxnSpMkLst>
        </pc:cxnChg>
        <pc:cxnChg chg="mod">
          <ac:chgData name="Annette Ysland Ludvigsen" userId="5cc2156a-4192-4fe6-8372-bcf947567e0f" providerId="ADAL" clId="{29604A7C-77EF-4D8C-A274-1EAA9DB0101B}" dt="2021-06-10T19:20:46.812" v="3871" actId="1076"/>
          <ac:cxnSpMkLst>
            <pc:docMk/>
            <pc:sldMk cId="1216815233" sldId="3547"/>
            <ac:cxnSpMk id="85" creationId="{DA3C1311-132B-4C6D-8AFF-3ECDA6869A0D}"/>
          </ac:cxnSpMkLst>
        </pc:cxnChg>
        <pc:cxnChg chg="mod">
          <ac:chgData name="Annette Ysland Ludvigsen" userId="5cc2156a-4192-4fe6-8372-bcf947567e0f" providerId="ADAL" clId="{29604A7C-77EF-4D8C-A274-1EAA9DB0101B}" dt="2021-06-10T10:29:03.607" v="3779" actId="14100"/>
          <ac:cxnSpMkLst>
            <pc:docMk/>
            <pc:sldMk cId="1216815233" sldId="3547"/>
            <ac:cxnSpMk id="88" creationId="{6DFB2549-DD3D-42DD-ABDB-A32EE82E0B3F}"/>
          </ac:cxnSpMkLst>
        </pc:cxnChg>
        <pc:cxnChg chg="mod">
          <ac:chgData name="Annette Ysland Ludvigsen" userId="5cc2156a-4192-4fe6-8372-bcf947567e0f" providerId="ADAL" clId="{29604A7C-77EF-4D8C-A274-1EAA9DB0101B}" dt="2021-06-10T10:29:09.167" v="3782" actId="14100"/>
          <ac:cxnSpMkLst>
            <pc:docMk/>
            <pc:sldMk cId="1216815233" sldId="3547"/>
            <ac:cxnSpMk id="92" creationId="{4B1B2D5D-0E25-4DB4-BD6C-42A04489B326}"/>
          </ac:cxnSpMkLst>
        </pc:cxnChg>
        <pc:cxnChg chg="add del">
          <ac:chgData name="Annette Ysland Ludvigsen" userId="5cc2156a-4192-4fe6-8372-bcf947567e0f" providerId="ADAL" clId="{29604A7C-77EF-4D8C-A274-1EAA9DB0101B}" dt="2021-06-10T10:28:54.131" v="3774" actId="478"/>
          <ac:cxnSpMkLst>
            <pc:docMk/>
            <pc:sldMk cId="1216815233" sldId="3547"/>
            <ac:cxnSpMk id="107" creationId="{867F0CC5-B63E-463B-A9AC-19FC90385BF0}"/>
          </ac:cxnSpMkLst>
        </pc:cxnChg>
        <pc:cxnChg chg="del mod">
          <ac:chgData name="Annette Ysland Ludvigsen" userId="5cc2156a-4192-4fe6-8372-bcf947567e0f" providerId="ADAL" clId="{29604A7C-77EF-4D8C-A274-1EAA9DB0101B}" dt="2021-06-10T10:28:32.787" v="3764" actId="478"/>
          <ac:cxnSpMkLst>
            <pc:docMk/>
            <pc:sldMk cId="1216815233" sldId="3547"/>
            <ac:cxnSpMk id="111" creationId="{CD1E2E20-D7CE-41BB-917C-A0F80D71311C}"/>
          </ac:cxnSpMkLst>
        </pc:cxnChg>
        <pc:cxnChg chg="del">
          <ac:chgData name="Annette Ysland Ludvigsen" userId="5cc2156a-4192-4fe6-8372-bcf947567e0f" providerId="ADAL" clId="{29604A7C-77EF-4D8C-A274-1EAA9DB0101B}" dt="2021-06-10T10:28:32.007" v="3763" actId="478"/>
          <ac:cxnSpMkLst>
            <pc:docMk/>
            <pc:sldMk cId="1216815233" sldId="3547"/>
            <ac:cxnSpMk id="118" creationId="{795AB7DA-11AF-4C05-8AD8-3ED96F259337}"/>
          </ac:cxnSpMkLst>
        </pc:cxnChg>
        <pc:cxnChg chg="del">
          <ac:chgData name="Annette Ysland Ludvigsen" userId="5cc2156a-4192-4fe6-8372-bcf947567e0f" providerId="ADAL" clId="{29604A7C-77EF-4D8C-A274-1EAA9DB0101B}" dt="2021-06-10T10:28:56.055" v="3775" actId="478"/>
          <ac:cxnSpMkLst>
            <pc:docMk/>
            <pc:sldMk cId="1216815233" sldId="3547"/>
            <ac:cxnSpMk id="120" creationId="{36328714-4640-411E-89A2-5A89C728CA9E}"/>
          </ac:cxnSpMkLst>
        </pc:cxnChg>
        <pc:cxnChg chg="del">
          <ac:chgData name="Annette Ysland Ludvigsen" userId="5cc2156a-4192-4fe6-8372-bcf947567e0f" providerId="ADAL" clId="{29604A7C-77EF-4D8C-A274-1EAA9DB0101B}" dt="2021-06-10T10:28:34.477" v="3765" actId="478"/>
          <ac:cxnSpMkLst>
            <pc:docMk/>
            <pc:sldMk cId="1216815233" sldId="3547"/>
            <ac:cxnSpMk id="125" creationId="{AFAA347D-8B7A-481A-A88E-7FA2CA3B4FCB}"/>
          </ac:cxnSpMkLst>
        </pc:cxnChg>
        <pc:cxnChg chg="del">
          <ac:chgData name="Annette Ysland Ludvigsen" userId="5cc2156a-4192-4fe6-8372-bcf947567e0f" providerId="ADAL" clId="{29604A7C-77EF-4D8C-A274-1EAA9DB0101B}" dt="2021-06-10T10:28:35.177" v="3766" actId="478"/>
          <ac:cxnSpMkLst>
            <pc:docMk/>
            <pc:sldMk cId="1216815233" sldId="3547"/>
            <ac:cxnSpMk id="127" creationId="{A1ED4641-0A81-4F6B-876A-80F67F751195}"/>
          </ac:cxnSpMkLst>
        </pc:cxnChg>
        <pc:cxnChg chg="add del mod">
          <ac:chgData name="Annette Ysland Ludvigsen" userId="5cc2156a-4192-4fe6-8372-bcf947567e0f" providerId="ADAL" clId="{29604A7C-77EF-4D8C-A274-1EAA9DB0101B}" dt="2021-06-10T10:28:51.836" v="3773" actId="478"/>
          <ac:cxnSpMkLst>
            <pc:docMk/>
            <pc:sldMk cId="1216815233" sldId="3547"/>
            <ac:cxnSpMk id="141" creationId="{DC3D8EAD-8298-4DEC-94EE-3574FFD3F00D}"/>
          </ac:cxnSpMkLst>
        </pc:cxnChg>
      </pc:sldChg>
      <pc:sldChg chg="addSp delSp modSp add mod ord setBg">
        <pc:chgData name="Annette Ysland Ludvigsen" userId="5cc2156a-4192-4fe6-8372-bcf947567e0f" providerId="ADAL" clId="{29604A7C-77EF-4D8C-A274-1EAA9DB0101B}" dt="2021-06-14T09:22:03.814" v="8559" actId="20577"/>
        <pc:sldMkLst>
          <pc:docMk/>
          <pc:sldMk cId="2657797721" sldId="3548"/>
        </pc:sldMkLst>
        <pc:spChg chg="mod ord">
          <ac:chgData name="Annette Ysland Ludvigsen" userId="5cc2156a-4192-4fe6-8372-bcf947567e0f" providerId="ADAL" clId="{29604A7C-77EF-4D8C-A274-1EAA9DB0101B}" dt="2021-06-10T20:17:20.838" v="4940" actId="14100"/>
          <ac:spMkLst>
            <pc:docMk/>
            <pc:sldMk cId="2657797721" sldId="3548"/>
            <ac:spMk id="2" creationId="{90BA2F0A-9D8F-40E4-B51B-11D526390FC5}"/>
          </ac:spMkLst>
        </pc:spChg>
        <pc:spChg chg="mod">
          <ac:chgData name="Annette Ysland Ludvigsen" userId="5cc2156a-4192-4fe6-8372-bcf947567e0f" providerId="ADAL" clId="{29604A7C-77EF-4D8C-A274-1EAA9DB0101B}" dt="2021-06-14T09:22:03.814" v="8559" actId="20577"/>
          <ac:spMkLst>
            <pc:docMk/>
            <pc:sldMk cId="2657797721" sldId="3548"/>
            <ac:spMk id="3" creationId="{EDE1B92B-B0DF-45D1-9A50-84189FB7892D}"/>
          </ac:spMkLst>
        </pc:spChg>
        <pc:spChg chg="add del">
          <ac:chgData name="Annette Ysland Ludvigsen" userId="5cc2156a-4192-4fe6-8372-bcf947567e0f" providerId="ADAL" clId="{29604A7C-77EF-4D8C-A274-1EAA9DB0101B}" dt="2021-06-10T20:16:53.718" v="4933" actId="26606"/>
          <ac:spMkLst>
            <pc:docMk/>
            <pc:sldMk cId="2657797721" sldId="3548"/>
            <ac:spMk id="10" creationId="{23A58148-D452-4F6F-A2FE-EED968DE1970}"/>
          </ac:spMkLst>
        </pc:spChg>
        <pc:spChg chg="add">
          <ac:chgData name="Annette Ysland Ludvigsen" userId="5cc2156a-4192-4fe6-8372-bcf947567e0f" providerId="ADAL" clId="{29604A7C-77EF-4D8C-A274-1EAA9DB0101B}" dt="2021-06-10T20:16:53.718" v="4933" actId="26606"/>
          <ac:spMkLst>
            <pc:docMk/>
            <pc:sldMk cId="2657797721" sldId="3548"/>
            <ac:spMk id="15" creationId="{03AF1C04-3FEF-41BD-BB84-2F263765BEBC}"/>
          </ac:spMkLst>
        </pc:spChg>
        <pc:grpChg chg="add">
          <ac:chgData name="Annette Ysland Ludvigsen" userId="5cc2156a-4192-4fe6-8372-bcf947567e0f" providerId="ADAL" clId="{29604A7C-77EF-4D8C-A274-1EAA9DB0101B}" dt="2021-06-10T20:16:53.718" v="4933" actId="26606"/>
          <ac:grpSpMkLst>
            <pc:docMk/>
            <pc:sldMk cId="2657797721" sldId="3548"/>
            <ac:grpSpMk id="17" creationId="{2DD5E267-EB6F-47DF-ABEF-2C1BED44DAC6}"/>
          </ac:grpSpMkLst>
        </pc:grpChg>
        <pc:grpChg chg="add">
          <ac:chgData name="Annette Ysland Ludvigsen" userId="5cc2156a-4192-4fe6-8372-bcf947567e0f" providerId="ADAL" clId="{29604A7C-77EF-4D8C-A274-1EAA9DB0101B}" dt="2021-06-10T20:16:53.718" v="4933" actId="26606"/>
          <ac:grpSpMkLst>
            <pc:docMk/>
            <pc:sldMk cId="2657797721" sldId="3548"/>
            <ac:grpSpMk id="21" creationId="{66828D02-A05D-412B-9F20-B68E970B9FC2}"/>
          </ac:grpSpMkLst>
        </pc:grpChg>
        <pc:grpChg chg="add">
          <ac:chgData name="Annette Ysland Ludvigsen" userId="5cc2156a-4192-4fe6-8372-bcf947567e0f" providerId="ADAL" clId="{29604A7C-77EF-4D8C-A274-1EAA9DB0101B}" dt="2021-06-10T20:16:53.718" v="4933" actId="26606"/>
          <ac:grpSpMkLst>
            <pc:docMk/>
            <pc:sldMk cId="2657797721" sldId="3548"/>
            <ac:grpSpMk id="25" creationId="{E27AF472-EAE3-4572-AB69-B92BD10DBC6D}"/>
          </ac:grpSpMkLst>
        </pc:grpChg>
        <pc:picChg chg="add del mod">
          <ac:chgData name="Annette Ysland Ludvigsen" userId="5cc2156a-4192-4fe6-8372-bcf947567e0f" providerId="ADAL" clId="{29604A7C-77EF-4D8C-A274-1EAA9DB0101B}" dt="2021-06-10T20:16:55.120" v="4934" actId="478"/>
          <ac:picMkLst>
            <pc:docMk/>
            <pc:sldMk cId="2657797721" sldId="3548"/>
            <ac:picMk id="7" creationId="{172CB2A6-062F-4951-8460-00DA10EE11DF}"/>
          </ac:picMkLst>
        </pc:picChg>
      </pc:sldChg>
      <pc:sldChg chg="addSp delSp modSp new del mod ord modTransition modAnim">
        <pc:chgData name="Annette Ysland Ludvigsen" userId="5cc2156a-4192-4fe6-8372-bcf947567e0f" providerId="ADAL" clId="{29604A7C-77EF-4D8C-A274-1EAA9DB0101B}" dt="2021-06-14T05:52:19.335" v="7673" actId="47"/>
        <pc:sldMkLst>
          <pc:docMk/>
          <pc:sldMk cId="3219347834" sldId="3549"/>
        </pc:sldMkLst>
        <pc:spChg chg="mod">
          <ac:chgData name="Annette Ysland Ludvigsen" userId="5cc2156a-4192-4fe6-8372-bcf947567e0f" providerId="ADAL" clId="{29604A7C-77EF-4D8C-A274-1EAA9DB0101B}" dt="2021-06-10T20:29:58.365" v="5100" actId="20577"/>
          <ac:spMkLst>
            <pc:docMk/>
            <pc:sldMk cId="3219347834" sldId="3549"/>
            <ac:spMk id="2" creationId="{213C987E-92F7-4ADA-BEE4-DB885580E9D0}"/>
          </ac:spMkLst>
        </pc:spChg>
        <pc:spChg chg="add mod">
          <ac:chgData name="Annette Ysland Ludvigsen" userId="5cc2156a-4192-4fe6-8372-bcf947567e0f" providerId="ADAL" clId="{29604A7C-77EF-4D8C-A274-1EAA9DB0101B}" dt="2021-06-10T19:29:00.158" v="4001" actId="1076"/>
          <ac:spMkLst>
            <pc:docMk/>
            <pc:sldMk cId="3219347834" sldId="3549"/>
            <ac:spMk id="3" creationId="{564FFCDF-4BD8-4881-B48B-D7F66C44846E}"/>
          </ac:spMkLst>
        </pc:spChg>
        <pc:spChg chg="add mod">
          <ac:chgData name="Annette Ysland Ludvigsen" userId="5cc2156a-4192-4fe6-8372-bcf947567e0f" providerId="ADAL" clId="{29604A7C-77EF-4D8C-A274-1EAA9DB0101B}" dt="2021-06-10T20:29:06.065" v="5088" actId="20577"/>
          <ac:spMkLst>
            <pc:docMk/>
            <pc:sldMk cId="3219347834" sldId="3549"/>
            <ac:spMk id="4" creationId="{3E60212A-BF7C-445B-AB3D-E47B6668DF7C}"/>
          </ac:spMkLst>
        </pc:spChg>
        <pc:spChg chg="add mod">
          <ac:chgData name="Annette Ysland Ludvigsen" userId="5cc2156a-4192-4fe6-8372-bcf947567e0f" providerId="ADAL" clId="{29604A7C-77EF-4D8C-A274-1EAA9DB0101B}" dt="2021-06-10T19:26:44.480" v="3938" actId="1076"/>
          <ac:spMkLst>
            <pc:docMk/>
            <pc:sldMk cId="3219347834" sldId="3549"/>
            <ac:spMk id="5" creationId="{2755B95D-2A10-4643-BB12-4ECBADD379B2}"/>
          </ac:spMkLst>
        </pc:spChg>
        <pc:spChg chg="add mod">
          <ac:chgData name="Annette Ysland Ludvigsen" userId="5cc2156a-4192-4fe6-8372-bcf947567e0f" providerId="ADAL" clId="{29604A7C-77EF-4D8C-A274-1EAA9DB0101B}" dt="2021-06-10T19:26:44.480" v="3938" actId="1076"/>
          <ac:spMkLst>
            <pc:docMk/>
            <pc:sldMk cId="3219347834" sldId="3549"/>
            <ac:spMk id="6" creationId="{4836C087-D715-4631-B150-14C2FBE651B4}"/>
          </ac:spMkLst>
        </pc:spChg>
        <pc:spChg chg="add mod">
          <ac:chgData name="Annette Ysland Ludvigsen" userId="5cc2156a-4192-4fe6-8372-bcf947567e0f" providerId="ADAL" clId="{29604A7C-77EF-4D8C-A274-1EAA9DB0101B}" dt="2021-06-10T20:33:14.889" v="5164" actId="20577"/>
          <ac:spMkLst>
            <pc:docMk/>
            <pc:sldMk cId="3219347834" sldId="3549"/>
            <ac:spMk id="7" creationId="{D83C8163-FEBA-4B54-AD61-040673531BA3}"/>
          </ac:spMkLst>
        </pc:spChg>
        <pc:spChg chg="add mod">
          <ac:chgData name="Annette Ysland Ludvigsen" userId="5cc2156a-4192-4fe6-8372-bcf947567e0f" providerId="ADAL" clId="{29604A7C-77EF-4D8C-A274-1EAA9DB0101B}" dt="2021-06-11T05:51:41.771" v="6084" actId="20577"/>
          <ac:spMkLst>
            <pc:docMk/>
            <pc:sldMk cId="3219347834" sldId="3549"/>
            <ac:spMk id="8" creationId="{6F323743-564E-4593-8A7A-03C9D4CE75C2}"/>
          </ac:spMkLst>
        </pc:spChg>
        <pc:spChg chg="add mod">
          <ac:chgData name="Annette Ysland Ludvigsen" userId="5cc2156a-4192-4fe6-8372-bcf947567e0f" providerId="ADAL" clId="{29604A7C-77EF-4D8C-A274-1EAA9DB0101B}" dt="2021-06-10T19:25:02.770" v="3927" actId="1076"/>
          <ac:spMkLst>
            <pc:docMk/>
            <pc:sldMk cId="3219347834" sldId="3549"/>
            <ac:spMk id="9" creationId="{C9442EFD-0E08-41D0-97AA-C1C49DD3E084}"/>
          </ac:spMkLst>
        </pc:spChg>
        <pc:spChg chg="add del mod">
          <ac:chgData name="Annette Ysland Ludvigsen" userId="5cc2156a-4192-4fe6-8372-bcf947567e0f" providerId="ADAL" clId="{29604A7C-77EF-4D8C-A274-1EAA9DB0101B}" dt="2021-06-10T20:28:37.988" v="5070" actId="478"/>
          <ac:spMkLst>
            <pc:docMk/>
            <pc:sldMk cId="3219347834" sldId="3549"/>
            <ac:spMk id="10" creationId="{A6EDA797-AB55-4E96-AC20-7CDE40519F41}"/>
          </ac:spMkLst>
        </pc:spChg>
        <pc:spChg chg="add del mod">
          <ac:chgData name="Annette Ysland Ludvigsen" userId="5cc2156a-4192-4fe6-8372-bcf947567e0f" providerId="ADAL" clId="{29604A7C-77EF-4D8C-A274-1EAA9DB0101B}" dt="2021-06-10T20:29:22.469" v="5093" actId="1076"/>
          <ac:spMkLst>
            <pc:docMk/>
            <pc:sldMk cId="3219347834" sldId="3549"/>
            <ac:spMk id="11" creationId="{0644FFB8-D637-4FA8-A66E-720D2A8BFE29}"/>
          </ac:spMkLst>
        </pc:spChg>
        <pc:spChg chg="add del mod">
          <ac:chgData name="Annette Ysland Ludvigsen" userId="5cc2156a-4192-4fe6-8372-bcf947567e0f" providerId="ADAL" clId="{29604A7C-77EF-4D8C-A274-1EAA9DB0101B}" dt="2021-06-10T20:28:34.613" v="5069" actId="478"/>
          <ac:spMkLst>
            <pc:docMk/>
            <pc:sldMk cId="3219347834" sldId="3549"/>
            <ac:spMk id="12" creationId="{A2ACC987-ACB2-4848-9ABC-1372B475F73B}"/>
          </ac:spMkLst>
        </pc:spChg>
        <pc:spChg chg="add del mod">
          <ac:chgData name="Annette Ysland Ludvigsen" userId="5cc2156a-4192-4fe6-8372-bcf947567e0f" providerId="ADAL" clId="{29604A7C-77EF-4D8C-A274-1EAA9DB0101B}" dt="2021-06-10T20:28:50.938" v="5075" actId="478"/>
          <ac:spMkLst>
            <pc:docMk/>
            <pc:sldMk cId="3219347834" sldId="3549"/>
            <ac:spMk id="13" creationId="{31774EA0-950E-4655-A5E3-40BBBD8316AF}"/>
          </ac:spMkLst>
        </pc:spChg>
        <pc:spChg chg="add del mod">
          <ac:chgData name="Annette Ysland Ludvigsen" userId="5cc2156a-4192-4fe6-8372-bcf947567e0f" providerId="ADAL" clId="{29604A7C-77EF-4D8C-A274-1EAA9DB0101B}" dt="2021-06-10T20:28:53.868" v="5076" actId="478"/>
          <ac:spMkLst>
            <pc:docMk/>
            <pc:sldMk cId="3219347834" sldId="3549"/>
            <ac:spMk id="14" creationId="{51A6D67F-F01E-40E8-BE6B-3BBF17C29CDD}"/>
          </ac:spMkLst>
        </pc:spChg>
        <pc:spChg chg="add mod">
          <ac:chgData name="Annette Ysland Ludvigsen" userId="5cc2156a-4192-4fe6-8372-bcf947567e0f" providerId="ADAL" clId="{29604A7C-77EF-4D8C-A274-1EAA9DB0101B}" dt="2021-06-10T19:26:57.075" v="3939" actId="1076"/>
          <ac:spMkLst>
            <pc:docMk/>
            <pc:sldMk cId="3219347834" sldId="3549"/>
            <ac:spMk id="15" creationId="{8451CFB5-BD6E-4507-A417-D18271ABBA96}"/>
          </ac:spMkLst>
        </pc:spChg>
        <pc:spChg chg="add mod">
          <ac:chgData name="Annette Ysland Ludvigsen" userId="5cc2156a-4192-4fe6-8372-bcf947567e0f" providerId="ADAL" clId="{29604A7C-77EF-4D8C-A274-1EAA9DB0101B}" dt="2021-06-10T20:29:52.105" v="5096" actId="1076"/>
          <ac:spMkLst>
            <pc:docMk/>
            <pc:sldMk cId="3219347834" sldId="3549"/>
            <ac:spMk id="16" creationId="{829F184C-B841-4996-97D9-3778493C4D7A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17" creationId="{C69D3AA5-0616-4768-A1BB-CB22A9B7527E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18" creationId="{ECE0917D-D954-4212-A7C7-75A33D753D60}"/>
          </ac:spMkLst>
        </pc:spChg>
        <pc:spChg chg="add mod">
          <ac:chgData name="Annette Ysland Ludvigsen" userId="5cc2156a-4192-4fe6-8372-bcf947567e0f" providerId="ADAL" clId="{29604A7C-77EF-4D8C-A274-1EAA9DB0101B}" dt="2021-06-10T19:26:57.075" v="3939" actId="1076"/>
          <ac:spMkLst>
            <pc:docMk/>
            <pc:sldMk cId="3219347834" sldId="3549"/>
            <ac:spMk id="19" creationId="{FFA48801-F253-4BE7-9EC2-4B0195E034F6}"/>
          </ac:spMkLst>
        </pc:spChg>
        <pc:spChg chg="add mod">
          <ac:chgData name="Annette Ysland Ludvigsen" userId="5cc2156a-4192-4fe6-8372-bcf947567e0f" providerId="ADAL" clId="{29604A7C-77EF-4D8C-A274-1EAA9DB0101B}" dt="2021-06-10T19:26:57.075" v="3939" actId="1076"/>
          <ac:spMkLst>
            <pc:docMk/>
            <pc:sldMk cId="3219347834" sldId="3549"/>
            <ac:spMk id="22" creationId="{0FDF9171-5761-498B-BFC1-8B0070DBD985}"/>
          </ac:spMkLst>
        </pc:spChg>
        <pc:spChg chg="add mod">
          <ac:chgData name="Annette Ysland Ludvigsen" userId="5cc2156a-4192-4fe6-8372-bcf947567e0f" providerId="ADAL" clId="{29604A7C-77EF-4D8C-A274-1EAA9DB0101B}" dt="2021-06-10T19:26:57.075" v="3939" actId="1076"/>
          <ac:spMkLst>
            <pc:docMk/>
            <pc:sldMk cId="3219347834" sldId="3549"/>
            <ac:spMk id="23" creationId="{0E12C624-50AC-4D64-B9FB-5AB5BDBA7B52}"/>
          </ac:spMkLst>
        </pc:spChg>
        <pc:spChg chg="add mod">
          <ac:chgData name="Annette Ysland Ludvigsen" userId="5cc2156a-4192-4fe6-8372-bcf947567e0f" providerId="ADAL" clId="{29604A7C-77EF-4D8C-A274-1EAA9DB0101B}" dt="2021-06-10T19:26:57.075" v="3939" actId="1076"/>
          <ac:spMkLst>
            <pc:docMk/>
            <pc:sldMk cId="3219347834" sldId="3549"/>
            <ac:spMk id="24" creationId="{23B5540F-9139-4B20-BDB1-3F4EE2F16ABC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26" creationId="{4063B9F5-C6E8-4C15-9882-0F1FF8A9A250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27" creationId="{3BFEA87C-26D8-4F8B-90D1-30660894EB82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28" creationId="{83907111-A08C-490B-856E-C41110838485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29" creationId="{8D28CBE2-E010-4658-B238-53A21DD5356F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30" creationId="{F75AD119-A8E7-47AB-AFEE-7C113F419E1C}"/>
          </ac:spMkLst>
        </pc:spChg>
        <pc:spChg chg="add mod">
          <ac:chgData name="Annette Ysland Ludvigsen" userId="5cc2156a-4192-4fe6-8372-bcf947567e0f" providerId="ADAL" clId="{29604A7C-77EF-4D8C-A274-1EAA9DB0101B}" dt="2021-06-10T19:46:50.101" v="4041" actId="207"/>
          <ac:spMkLst>
            <pc:docMk/>
            <pc:sldMk cId="3219347834" sldId="3549"/>
            <ac:spMk id="33" creationId="{92415C46-AA22-4CE1-9CBC-33F21115CCFF}"/>
          </ac:spMkLst>
        </pc:spChg>
        <pc:spChg chg="add del">
          <ac:chgData name="Annette Ysland Ludvigsen" userId="5cc2156a-4192-4fe6-8372-bcf947567e0f" providerId="ADAL" clId="{29604A7C-77EF-4D8C-A274-1EAA9DB0101B}" dt="2021-06-10T19:27:58.851" v="3952" actId="11529"/>
          <ac:spMkLst>
            <pc:docMk/>
            <pc:sldMk cId="3219347834" sldId="3549"/>
            <ac:spMk id="94" creationId="{3AA6F3CD-0F94-4D50-8D1E-DE6951241DBA}"/>
          </ac:spMkLst>
        </pc:spChg>
        <pc:spChg chg="add del mod">
          <ac:chgData name="Annette Ysland Ludvigsen" userId="5cc2156a-4192-4fe6-8372-bcf947567e0f" providerId="ADAL" clId="{29604A7C-77EF-4D8C-A274-1EAA9DB0101B}" dt="2021-06-10T19:29:37.408" v="4006" actId="21"/>
          <ac:spMkLst>
            <pc:docMk/>
            <pc:sldMk cId="3219347834" sldId="3549"/>
            <ac:spMk id="104" creationId="{AC9F39B8-D4C6-42E7-ACF6-80A310B55675}"/>
          </ac:spMkLst>
        </pc:spChg>
        <pc:spChg chg="add mod">
          <ac:chgData name="Annette Ysland Ludvigsen" userId="5cc2156a-4192-4fe6-8372-bcf947567e0f" providerId="ADAL" clId="{29604A7C-77EF-4D8C-A274-1EAA9DB0101B}" dt="2021-06-10T19:46:38.082" v="4040" actId="571"/>
          <ac:spMkLst>
            <pc:docMk/>
            <pc:sldMk cId="3219347834" sldId="3549"/>
            <ac:spMk id="120" creationId="{25FB04C6-9A9A-4A06-99D0-15AE7E70CF4D}"/>
          </ac:spMkLst>
        </pc:spChg>
        <pc:spChg chg="add mod">
          <ac:chgData name="Annette Ysland Ludvigsen" userId="5cc2156a-4192-4fe6-8372-bcf947567e0f" providerId="ADAL" clId="{29604A7C-77EF-4D8C-A274-1EAA9DB0101B}" dt="2021-06-10T19:46:38.082" v="4040" actId="571"/>
          <ac:spMkLst>
            <pc:docMk/>
            <pc:sldMk cId="3219347834" sldId="3549"/>
            <ac:spMk id="121" creationId="{F5EB9A24-F17C-4082-9752-FE6D0F4124FE}"/>
          </ac:spMkLst>
        </pc:spChg>
        <pc:spChg chg="add mod">
          <ac:chgData name="Annette Ysland Ludvigsen" userId="5cc2156a-4192-4fe6-8372-bcf947567e0f" providerId="ADAL" clId="{29604A7C-77EF-4D8C-A274-1EAA9DB0101B}" dt="2021-06-10T19:46:38.082" v="4040" actId="571"/>
          <ac:spMkLst>
            <pc:docMk/>
            <pc:sldMk cId="3219347834" sldId="3549"/>
            <ac:spMk id="122" creationId="{5D623E1D-8397-49B6-98BE-60DD8B553018}"/>
          </ac:spMkLst>
        </pc:spChg>
        <pc:spChg chg="add mod">
          <ac:chgData name="Annette Ysland Ludvigsen" userId="5cc2156a-4192-4fe6-8372-bcf947567e0f" providerId="ADAL" clId="{29604A7C-77EF-4D8C-A274-1EAA9DB0101B}" dt="2021-06-10T19:46:38.082" v="4040" actId="571"/>
          <ac:spMkLst>
            <pc:docMk/>
            <pc:sldMk cId="3219347834" sldId="3549"/>
            <ac:spMk id="123" creationId="{3B6042C6-596E-4CCF-A7D2-FA7CC02FA97F}"/>
          </ac:spMkLst>
        </pc:spChg>
        <pc:spChg chg="add mod">
          <ac:chgData name="Annette Ysland Ludvigsen" userId="5cc2156a-4192-4fe6-8372-bcf947567e0f" providerId="ADAL" clId="{29604A7C-77EF-4D8C-A274-1EAA9DB0101B}" dt="2021-06-10T19:46:38.082" v="4040" actId="571"/>
          <ac:spMkLst>
            <pc:docMk/>
            <pc:sldMk cId="3219347834" sldId="3549"/>
            <ac:spMk id="124" creationId="{667F4067-EE05-409A-A34B-558D0CFC34EB}"/>
          </ac:spMkLst>
        </pc:spChg>
        <pc:cxnChg chg="add del mod">
          <ac:chgData name="Annette Ysland Ludvigsen" userId="5cc2156a-4192-4fe6-8372-bcf947567e0f" providerId="ADAL" clId="{29604A7C-77EF-4D8C-A274-1EAA9DB0101B}" dt="2021-06-10T19:23:00.464" v="3902" actId="478"/>
          <ac:cxnSpMkLst>
            <pc:docMk/>
            <pc:sldMk cId="3219347834" sldId="3549"/>
            <ac:cxnSpMk id="20" creationId="{7AD7DBBF-1191-47C5-A00A-DECFAF1B8B04}"/>
          </ac:cxnSpMkLst>
        </pc:cxnChg>
        <pc:cxnChg chg="add del mod">
          <ac:chgData name="Annette Ysland Ludvigsen" userId="5cc2156a-4192-4fe6-8372-bcf947567e0f" providerId="ADAL" clId="{29604A7C-77EF-4D8C-A274-1EAA9DB0101B}" dt="2021-06-10T19:22:49.109" v="3895" actId="478"/>
          <ac:cxnSpMkLst>
            <pc:docMk/>
            <pc:sldMk cId="3219347834" sldId="3549"/>
            <ac:cxnSpMk id="21" creationId="{9A017E9B-78ED-446F-BD9D-402737E1F22E}"/>
          </ac:cxnSpMkLst>
        </pc:cxnChg>
        <pc:cxnChg chg="add mod">
          <ac:chgData name="Annette Ysland Ludvigsen" userId="5cc2156a-4192-4fe6-8372-bcf947567e0f" providerId="ADAL" clId="{29604A7C-77EF-4D8C-A274-1EAA9DB0101B}" dt="2021-06-10T19:26:57.075" v="3939" actId="1076"/>
          <ac:cxnSpMkLst>
            <pc:docMk/>
            <pc:sldMk cId="3219347834" sldId="3549"/>
            <ac:cxnSpMk id="25" creationId="{410734AA-7327-41DF-86DA-2954808252BF}"/>
          </ac:cxnSpMkLst>
        </pc:cxnChg>
        <pc:cxnChg chg="add del mod">
          <ac:chgData name="Annette Ysland Ludvigsen" userId="5cc2156a-4192-4fe6-8372-bcf947567e0f" providerId="ADAL" clId="{29604A7C-77EF-4D8C-A274-1EAA9DB0101B}" dt="2021-06-10T19:22:52.265" v="3897" actId="478"/>
          <ac:cxnSpMkLst>
            <pc:docMk/>
            <pc:sldMk cId="3219347834" sldId="3549"/>
            <ac:cxnSpMk id="31" creationId="{140842A4-674C-442B-88BA-DC02DF01495A}"/>
          </ac:cxnSpMkLst>
        </pc:cxnChg>
        <pc:cxnChg chg="add del mod">
          <ac:chgData name="Annette Ysland Ludvigsen" userId="5cc2156a-4192-4fe6-8372-bcf947567e0f" providerId="ADAL" clId="{29604A7C-77EF-4D8C-A274-1EAA9DB0101B}" dt="2021-06-10T19:22:54.728" v="3898" actId="478"/>
          <ac:cxnSpMkLst>
            <pc:docMk/>
            <pc:sldMk cId="3219347834" sldId="3549"/>
            <ac:cxnSpMk id="32" creationId="{E680D172-3F1D-4EC4-A9C3-7C0FC4BC75E6}"/>
          </ac:cxnSpMkLst>
        </pc:cxnChg>
        <pc:cxnChg chg="add del mod">
          <ac:chgData name="Annette Ysland Ludvigsen" userId="5cc2156a-4192-4fe6-8372-bcf947567e0f" providerId="ADAL" clId="{29604A7C-77EF-4D8C-A274-1EAA9DB0101B}" dt="2021-06-10T19:22:59.345" v="3901" actId="478"/>
          <ac:cxnSpMkLst>
            <pc:docMk/>
            <pc:sldMk cId="3219347834" sldId="3549"/>
            <ac:cxnSpMk id="34" creationId="{28AC404A-0A11-45BA-AC0D-6D19887E152E}"/>
          </ac:cxnSpMkLst>
        </pc:cxnChg>
        <pc:cxnChg chg="add del mod">
          <ac:chgData name="Annette Ysland Ludvigsen" userId="5cc2156a-4192-4fe6-8372-bcf947567e0f" providerId="ADAL" clId="{29604A7C-77EF-4D8C-A274-1EAA9DB0101B}" dt="2021-06-10T19:22:57.979" v="3900" actId="478"/>
          <ac:cxnSpMkLst>
            <pc:docMk/>
            <pc:sldMk cId="3219347834" sldId="3549"/>
            <ac:cxnSpMk id="35" creationId="{9FA6746B-09F1-47FA-9A32-466BF8CB58E3}"/>
          </ac:cxnSpMkLst>
        </pc:cxnChg>
        <pc:cxnChg chg="add del mod">
          <ac:chgData name="Annette Ysland Ludvigsen" userId="5cc2156a-4192-4fe6-8372-bcf947567e0f" providerId="ADAL" clId="{29604A7C-77EF-4D8C-A274-1EAA9DB0101B}" dt="2021-06-10T19:22:56.335" v="3899" actId="478"/>
          <ac:cxnSpMkLst>
            <pc:docMk/>
            <pc:sldMk cId="3219347834" sldId="3549"/>
            <ac:cxnSpMk id="36" creationId="{35993164-EF51-4B48-8417-D818B88CD956}"/>
          </ac:cxnSpMkLst>
        </pc:cxnChg>
        <pc:cxnChg chg="add del mod">
          <ac:chgData name="Annette Ysland Ludvigsen" userId="5cc2156a-4192-4fe6-8372-bcf947567e0f" providerId="ADAL" clId="{29604A7C-77EF-4D8C-A274-1EAA9DB0101B}" dt="2021-06-10T19:22:50.618" v="3896" actId="478"/>
          <ac:cxnSpMkLst>
            <pc:docMk/>
            <pc:sldMk cId="3219347834" sldId="3549"/>
            <ac:cxnSpMk id="37" creationId="{C67E2795-502F-4E1D-B7B0-5230AA8F8885}"/>
          </ac:cxnSpMkLst>
        </pc:cxnChg>
        <pc:cxnChg chg="add del mod">
          <ac:chgData name="Annette Ysland Ludvigsen" userId="5cc2156a-4192-4fe6-8372-bcf947567e0f" providerId="ADAL" clId="{29604A7C-77EF-4D8C-A274-1EAA9DB0101B}" dt="2021-06-10T19:22:47.656" v="3894" actId="478"/>
          <ac:cxnSpMkLst>
            <pc:docMk/>
            <pc:sldMk cId="3219347834" sldId="3549"/>
            <ac:cxnSpMk id="38" creationId="{B768B36D-133C-4DA2-882A-36FF52066EEB}"/>
          </ac:cxnSpMkLst>
        </pc:cxnChg>
        <pc:cxnChg chg="add mod">
          <ac:chgData name="Annette Ysland Ludvigsen" userId="5cc2156a-4192-4fe6-8372-bcf947567e0f" providerId="ADAL" clId="{29604A7C-77EF-4D8C-A274-1EAA9DB0101B}" dt="2021-06-10T20:29:52.105" v="5096" actId="1076"/>
          <ac:cxnSpMkLst>
            <pc:docMk/>
            <pc:sldMk cId="3219347834" sldId="3549"/>
            <ac:cxnSpMk id="40" creationId="{61B44143-45A6-4308-9900-26E35F33D949}"/>
          </ac:cxnSpMkLst>
        </pc:cxnChg>
        <pc:cxnChg chg="add del mod">
          <ac:chgData name="Annette Ysland Ludvigsen" userId="5cc2156a-4192-4fe6-8372-bcf947567e0f" providerId="ADAL" clId="{29604A7C-77EF-4D8C-A274-1EAA9DB0101B}" dt="2021-06-10T19:27:51.607" v="3949" actId="478"/>
          <ac:cxnSpMkLst>
            <pc:docMk/>
            <pc:sldMk cId="3219347834" sldId="3549"/>
            <ac:cxnSpMk id="43" creationId="{33F8BC87-F3F1-4DCB-B600-8D8D247FAF1A}"/>
          </ac:cxnSpMkLst>
        </pc:cxnChg>
        <pc:cxnChg chg="add del mod">
          <ac:chgData name="Annette Ysland Ludvigsen" userId="5cc2156a-4192-4fe6-8372-bcf947567e0f" providerId="ADAL" clId="{29604A7C-77EF-4D8C-A274-1EAA9DB0101B}" dt="2021-06-10T19:27:53.246" v="3950" actId="478"/>
          <ac:cxnSpMkLst>
            <pc:docMk/>
            <pc:sldMk cId="3219347834" sldId="3549"/>
            <ac:cxnSpMk id="45" creationId="{833DC273-2268-48D6-B7C2-B7F1AD04330D}"/>
          </ac:cxnSpMkLst>
        </pc:cxnChg>
        <pc:cxnChg chg="add mod">
          <ac:chgData name="Annette Ysland Ludvigsen" userId="5cc2156a-4192-4fe6-8372-bcf947567e0f" providerId="ADAL" clId="{29604A7C-77EF-4D8C-A274-1EAA9DB0101B}" dt="2021-06-10T19:26:57.075" v="3939" actId="1076"/>
          <ac:cxnSpMkLst>
            <pc:docMk/>
            <pc:sldMk cId="3219347834" sldId="3549"/>
            <ac:cxnSpMk id="47" creationId="{CD562411-9C1A-4E5D-8033-26AE655814E4}"/>
          </ac:cxnSpMkLst>
        </pc:cxnChg>
        <pc:cxnChg chg="add del mod">
          <ac:chgData name="Annette Ysland Ludvigsen" userId="5cc2156a-4192-4fe6-8372-bcf947567e0f" providerId="ADAL" clId="{29604A7C-77EF-4D8C-A274-1EAA9DB0101B}" dt="2021-06-10T20:29:14.521" v="5091" actId="478"/>
          <ac:cxnSpMkLst>
            <pc:docMk/>
            <pc:sldMk cId="3219347834" sldId="3549"/>
            <ac:cxnSpMk id="49" creationId="{58B9CBA8-E236-482E-B919-9E6EDF8C694F}"/>
          </ac:cxnSpMkLst>
        </pc:cxnChg>
        <pc:cxnChg chg="add del mod">
          <ac:chgData name="Annette Ysland Ludvigsen" userId="5cc2156a-4192-4fe6-8372-bcf947567e0f" providerId="ADAL" clId="{29604A7C-77EF-4D8C-A274-1EAA9DB0101B}" dt="2021-06-10T20:29:16.861" v="5092" actId="478"/>
          <ac:cxnSpMkLst>
            <pc:docMk/>
            <pc:sldMk cId="3219347834" sldId="3549"/>
            <ac:cxnSpMk id="51" creationId="{06BBBA9C-905E-4AF8-813C-2AF5BE3C7DD4}"/>
          </ac:cxnSpMkLst>
        </pc:cxnChg>
        <pc:cxnChg chg="add mod">
          <ac:chgData name="Annette Ysland Ludvigsen" userId="5cc2156a-4192-4fe6-8372-bcf947567e0f" providerId="ADAL" clId="{29604A7C-77EF-4D8C-A274-1EAA9DB0101B}" dt="2021-06-10T20:29:06.065" v="5088" actId="20577"/>
          <ac:cxnSpMkLst>
            <pc:docMk/>
            <pc:sldMk cId="3219347834" sldId="3549"/>
            <ac:cxnSpMk id="61" creationId="{90BAFC37-38B0-45DD-8EA6-5B2452899701}"/>
          </ac:cxnSpMkLst>
        </pc:cxnChg>
        <pc:cxnChg chg="add mod">
          <ac:chgData name="Annette Ysland Ludvigsen" userId="5cc2156a-4192-4fe6-8372-bcf947567e0f" providerId="ADAL" clId="{29604A7C-77EF-4D8C-A274-1EAA9DB0101B}" dt="2021-06-11T05:51:44.824" v="6085" actId="14100"/>
          <ac:cxnSpMkLst>
            <pc:docMk/>
            <pc:sldMk cId="3219347834" sldId="3549"/>
            <ac:cxnSpMk id="63" creationId="{595A86D8-C3DB-4A25-BE9A-E43922219551}"/>
          </ac:cxnSpMkLst>
        </pc:cxnChg>
        <pc:cxnChg chg="add mod">
          <ac:chgData name="Annette Ysland Ludvigsen" userId="5cc2156a-4192-4fe6-8372-bcf947567e0f" providerId="ADAL" clId="{29604A7C-77EF-4D8C-A274-1EAA9DB0101B}" dt="2021-06-10T20:29:22.469" v="5093" actId="1076"/>
          <ac:cxnSpMkLst>
            <pc:docMk/>
            <pc:sldMk cId="3219347834" sldId="3549"/>
            <ac:cxnSpMk id="65" creationId="{A777DC3E-8511-452C-B92E-51DBBC1F551F}"/>
          </ac:cxnSpMkLst>
        </pc:cxnChg>
        <pc:cxnChg chg="add del mod">
          <ac:chgData name="Annette Ysland Ludvigsen" userId="5cc2156a-4192-4fe6-8372-bcf947567e0f" providerId="ADAL" clId="{29604A7C-77EF-4D8C-A274-1EAA9DB0101B}" dt="2021-06-10T20:29:12.417" v="5090" actId="478"/>
          <ac:cxnSpMkLst>
            <pc:docMk/>
            <pc:sldMk cId="3219347834" sldId="3549"/>
            <ac:cxnSpMk id="67" creationId="{25FD0EB0-A97B-458E-9A94-A482BB022248}"/>
          </ac:cxnSpMkLst>
        </pc:cxnChg>
        <pc:cxnChg chg="add del mod">
          <ac:chgData name="Annette Ysland Ludvigsen" userId="5cc2156a-4192-4fe6-8372-bcf947567e0f" providerId="ADAL" clId="{29604A7C-77EF-4D8C-A274-1EAA9DB0101B}" dt="2021-06-10T20:29:08.406" v="5089" actId="478"/>
          <ac:cxnSpMkLst>
            <pc:docMk/>
            <pc:sldMk cId="3219347834" sldId="3549"/>
            <ac:cxnSpMk id="69" creationId="{101ABB93-37DA-498C-A040-BA7B5DB31FE8}"/>
          </ac:cxnSpMkLst>
        </pc:cxnChg>
        <pc:cxnChg chg="add mod">
          <ac:chgData name="Annette Ysland Ludvigsen" userId="5cc2156a-4192-4fe6-8372-bcf947567e0f" providerId="ADAL" clId="{29604A7C-77EF-4D8C-A274-1EAA9DB0101B}" dt="2021-06-10T20:33:14.889" v="5164" actId="20577"/>
          <ac:cxnSpMkLst>
            <pc:docMk/>
            <pc:sldMk cId="3219347834" sldId="3549"/>
            <ac:cxnSpMk id="93" creationId="{4BB188C5-686F-4B36-AE19-E587ED201530}"/>
          </ac:cxnSpMkLst>
        </pc:cxnChg>
        <pc:cxnChg chg="add">
          <ac:chgData name="Annette Ysland Ludvigsen" userId="5cc2156a-4192-4fe6-8372-bcf947567e0f" providerId="ADAL" clId="{29604A7C-77EF-4D8C-A274-1EAA9DB0101B}" dt="2021-06-10T19:28:41.965" v="3998" actId="11529"/>
          <ac:cxnSpMkLst>
            <pc:docMk/>
            <pc:sldMk cId="3219347834" sldId="3549"/>
            <ac:cxnSpMk id="98" creationId="{F9E0BC42-62AE-408B-BD82-35CBE088F0DE}"/>
          </ac:cxnSpMkLst>
        </pc:cxnChg>
        <pc:cxnChg chg="add mod">
          <ac:chgData name="Annette Ysland Ludvigsen" userId="5cc2156a-4192-4fe6-8372-bcf947567e0f" providerId="ADAL" clId="{29604A7C-77EF-4D8C-A274-1EAA9DB0101B}" dt="2021-06-10T19:28:52.686" v="4000" actId="1076"/>
          <ac:cxnSpMkLst>
            <pc:docMk/>
            <pc:sldMk cId="3219347834" sldId="3549"/>
            <ac:cxnSpMk id="100" creationId="{C972F4DA-9F47-416E-92EA-C8F6ADC239D7}"/>
          </ac:cxnSpMkLst>
        </pc:cxnChg>
      </pc:sldChg>
      <pc:sldChg chg="addSp modSp add mod ord setBg">
        <pc:chgData name="Annette Ysland Ludvigsen" userId="5cc2156a-4192-4fe6-8372-bcf947567e0f" providerId="ADAL" clId="{29604A7C-77EF-4D8C-A274-1EAA9DB0101B}" dt="2021-06-11T06:05:21.188" v="6290" actId="20577"/>
        <pc:sldMkLst>
          <pc:docMk/>
          <pc:sldMk cId="2027705525" sldId="3550"/>
        </pc:sldMkLst>
        <pc:spChg chg="mod">
          <ac:chgData name="Annette Ysland Ludvigsen" userId="5cc2156a-4192-4fe6-8372-bcf947567e0f" providerId="ADAL" clId="{29604A7C-77EF-4D8C-A274-1EAA9DB0101B}" dt="2021-06-10T20:15:21.172" v="4808" actId="26606"/>
          <ac:spMkLst>
            <pc:docMk/>
            <pc:sldMk cId="2027705525" sldId="3550"/>
            <ac:spMk id="2" creationId="{832FD9DD-E09D-4A7F-B5A8-E3B6C4DCB772}"/>
          </ac:spMkLst>
        </pc:spChg>
        <pc:spChg chg="mod">
          <ac:chgData name="Annette Ysland Ludvigsen" userId="5cc2156a-4192-4fe6-8372-bcf947567e0f" providerId="ADAL" clId="{29604A7C-77EF-4D8C-A274-1EAA9DB0101B}" dt="2021-06-11T06:05:21.188" v="6290" actId="20577"/>
          <ac:spMkLst>
            <pc:docMk/>
            <pc:sldMk cId="2027705525" sldId="3550"/>
            <ac:spMk id="3" creationId="{1C7A9D0E-D8CD-4ADB-AE1E-26621D57CE32}"/>
          </ac:spMkLst>
        </pc:spChg>
        <pc:spChg chg="add">
          <ac:chgData name="Annette Ysland Ludvigsen" userId="5cc2156a-4192-4fe6-8372-bcf947567e0f" providerId="ADAL" clId="{29604A7C-77EF-4D8C-A274-1EAA9DB0101B}" dt="2021-06-10T20:15:21.172" v="4808" actId="26606"/>
          <ac:spMkLst>
            <pc:docMk/>
            <pc:sldMk cId="2027705525" sldId="3550"/>
            <ac:spMk id="8" creationId="{C7D023E4-8DE1-436E-9847-ED6A4B4B04FD}"/>
          </ac:spMkLst>
        </pc:spChg>
        <pc:spChg chg="add">
          <ac:chgData name="Annette Ysland Ludvigsen" userId="5cc2156a-4192-4fe6-8372-bcf947567e0f" providerId="ADAL" clId="{29604A7C-77EF-4D8C-A274-1EAA9DB0101B}" dt="2021-06-10T20:15:21.172" v="4808" actId="26606"/>
          <ac:spMkLst>
            <pc:docMk/>
            <pc:sldMk cId="2027705525" sldId="3550"/>
            <ac:spMk id="10" creationId="{6BE11944-ED05-4FE9-9927-06C110BB3A36}"/>
          </ac:spMkLst>
        </pc:spChg>
        <pc:grpChg chg="add">
          <ac:chgData name="Annette Ysland Ludvigsen" userId="5cc2156a-4192-4fe6-8372-bcf947567e0f" providerId="ADAL" clId="{29604A7C-77EF-4D8C-A274-1EAA9DB0101B}" dt="2021-06-10T20:15:21.172" v="4808" actId="26606"/>
          <ac:grpSpMkLst>
            <pc:docMk/>
            <pc:sldMk cId="2027705525" sldId="3550"/>
            <ac:grpSpMk id="12" creationId="{A2812508-238C-4BCD-BDD3-25C99C5CA233}"/>
          </ac:grpSpMkLst>
        </pc:grpChg>
        <pc:grpChg chg="add">
          <ac:chgData name="Annette Ysland Ludvigsen" userId="5cc2156a-4192-4fe6-8372-bcf947567e0f" providerId="ADAL" clId="{29604A7C-77EF-4D8C-A274-1EAA9DB0101B}" dt="2021-06-10T20:15:21.172" v="4808" actId="26606"/>
          <ac:grpSpMkLst>
            <pc:docMk/>
            <pc:sldMk cId="2027705525" sldId="3550"/>
            <ac:grpSpMk id="16" creationId="{43F5E015-E085-4624-B431-B42414448684}"/>
          </ac:grpSpMkLst>
        </pc:grpChg>
      </pc:sldChg>
      <pc:sldChg chg="modSp add del ord">
        <pc:chgData name="Annette Ysland Ludvigsen" userId="5cc2156a-4192-4fe6-8372-bcf947567e0f" providerId="ADAL" clId="{29604A7C-77EF-4D8C-A274-1EAA9DB0101B}" dt="2021-06-10T19:41:19.289" v="4028" actId="47"/>
        <pc:sldMkLst>
          <pc:docMk/>
          <pc:sldMk cId="2101895672" sldId="3550"/>
        </pc:sldMkLst>
        <pc:graphicFrameChg chg="mod">
          <ac:chgData name="Annette Ysland Ludvigsen" userId="5cc2156a-4192-4fe6-8372-bcf947567e0f" providerId="ADAL" clId="{29604A7C-77EF-4D8C-A274-1EAA9DB0101B}" dt="2021-06-10T19:41:06.976" v="4027" actId="20577"/>
          <ac:graphicFrameMkLst>
            <pc:docMk/>
            <pc:sldMk cId="2101895672" sldId="3550"/>
            <ac:graphicFrameMk id="3" creationId="{0420F2A0-F9AA-4D13-B13F-9945B5A2EE82}"/>
          </ac:graphicFrameMkLst>
        </pc:graphicFrameChg>
      </pc:sldChg>
      <pc:sldChg chg="addSp modSp new del mod ord modAnim">
        <pc:chgData name="Annette Ysland Ludvigsen" userId="5cc2156a-4192-4fe6-8372-bcf947567e0f" providerId="ADAL" clId="{29604A7C-77EF-4D8C-A274-1EAA9DB0101B}" dt="2021-06-10T20:18:57.368" v="4958" actId="47"/>
        <pc:sldMkLst>
          <pc:docMk/>
          <pc:sldMk cId="4191937389" sldId="3551"/>
        </pc:sldMkLst>
        <pc:spChg chg="mod">
          <ac:chgData name="Annette Ysland Ludvigsen" userId="5cc2156a-4192-4fe6-8372-bcf947567e0f" providerId="ADAL" clId="{29604A7C-77EF-4D8C-A274-1EAA9DB0101B}" dt="2021-06-10T19:49:20.812" v="4079" actId="20577"/>
          <ac:spMkLst>
            <pc:docMk/>
            <pc:sldMk cId="4191937389" sldId="3551"/>
            <ac:spMk id="2" creationId="{57F494BC-C2B4-419C-A5FB-54F2473E0ACF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3" creationId="{1334030B-EC31-45D1-9FEF-BC7682F96345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4" creationId="{0C507CB0-3BB5-4866-801B-32425D3D78FE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5" creationId="{2AA1612E-0BEB-4EA1-B6FE-018198D0DEFD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6" creationId="{C822AF8D-68D4-40F2-9612-B48492A2160D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7" creationId="{CCF85A43-35F0-4DEF-AAA7-3F4E9B1506B7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0" creationId="{746221C1-1880-4199-9475-A2AE658440C1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1" creationId="{9FF4A60C-4419-4C4F-A306-3004B0474734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2" creationId="{0FF85423-1D64-4A4E-95E1-7583BB67B014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4" creationId="{F5A99606-0CEE-4791-862F-ED6A8A00146C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5" creationId="{3C18814C-918B-425A-AD55-6E3D53F7998C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6" creationId="{547FDEF4-24F6-48B5-93E7-0319395A35B5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7" creationId="{EC030D26-D844-4068-BDC0-629372D41A1D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18" creationId="{49C9DF23-1F88-4CA3-B92D-E03DB49E70C0}"/>
          </ac:spMkLst>
        </pc:spChg>
        <pc:spChg chg="add mod">
          <ac:chgData name="Annette Ysland Ludvigsen" userId="5cc2156a-4192-4fe6-8372-bcf947567e0f" providerId="ADAL" clId="{29604A7C-77EF-4D8C-A274-1EAA9DB0101B}" dt="2021-06-10T19:50:44.409" v="4082" actId="1076"/>
          <ac:spMkLst>
            <pc:docMk/>
            <pc:sldMk cId="4191937389" sldId="3551"/>
            <ac:spMk id="21" creationId="{A8B17C8C-293D-4C33-928C-B9AC7B38C760}"/>
          </ac:spMkLst>
        </pc:sp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8" creationId="{3D81E7F3-1A1D-4949-B385-D9C9889E8A28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9" creationId="{CEF16196-7BEB-42E4-A209-2FC9FAA36BEA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13" creationId="{5B5B4EC4-0EA4-476B-B3BF-44336A97AB36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19" creationId="{596400E9-F62F-48CA-BB8B-C0C1A1DD6C6A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0" creationId="{CF78CC90-B4F9-413A-B8E1-9ED0AEE90293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2" creationId="{019008AE-8170-407E-8AEF-3E72C61551E5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3" creationId="{E653DB5B-D7BB-42C1-9F3C-4256D91AD0A4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4" creationId="{4D1D4E40-7364-4E7B-9A44-F367422A3881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5" creationId="{84F95803-DF46-4D93-8147-B66DBE9BECC2}"/>
          </ac:cxnSpMkLst>
        </pc:cxnChg>
        <pc:cxnChg chg="add mod">
          <ac:chgData name="Annette Ysland Ludvigsen" userId="5cc2156a-4192-4fe6-8372-bcf947567e0f" providerId="ADAL" clId="{29604A7C-77EF-4D8C-A274-1EAA9DB0101B}" dt="2021-06-10T19:50:44.409" v="4082" actId="1076"/>
          <ac:cxnSpMkLst>
            <pc:docMk/>
            <pc:sldMk cId="4191937389" sldId="3551"/>
            <ac:cxnSpMk id="26" creationId="{CC7CF8E0-3E34-4FD6-B821-E92197F74388}"/>
          </ac:cxnSpMkLst>
        </pc:cxnChg>
      </pc:sldChg>
      <pc:sldChg chg="addSp delSp modSp new mod setBg">
        <pc:chgData name="Annette Ysland Ludvigsen" userId="5cc2156a-4192-4fe6-8372-bcf947567e0f" providerId="ADAL" clId="{29604A7C-77EF-4D8C-A274-1EAA9DB0101B}" dt="2021-06-10T20:21:25.281" v="4975" actId="404"/>
        <pc:sldMkLst>
          <pc:docMk/>
          <pc:sldMk cId="406569202" sldId="3552"/>
        </pc:sldMkLst>
        <pc:spChg chg="mod">
          <ac:chgData name="Annette Ysland Ludvigsen" userId="5cc2156a-4192-4fe6-8372-bcf947567e0f" providerId="ADAL" clId="{29604A7C-77EF-4D8C-A274-1EAA9DB0101B}" dt="2021-06-10T20:21:25.281" v="4975" actId="404"/>
          <ac:spMkLst>
            <pc:docMk/>
            <pc:sldMk cId="406569202" sldId="3552"/>
            <ac:spMk id="2" creationId="{AA37D9B7-D16B-48B1-952E-13DD9261B7F6}"/>
          </ac:spMkLst>
        </pc:spChg>
        <pc:spChg chg="mod">
          <ac:chgData name="Annette Ysland Ludvigsen" userId="5cc2156a-4192-4fe6-8372-bcf947567e0f" providerId="ADAL" clId="{29604A7C-77EF-4D8C-A274-1EAA9DB0101B}" dt="2021-06-10T20:21:21.394" v="4974" actId="26606"/>
          <ac:spMkLst>
            <pc:docMk/>
            <pc:sldMk cId="406569202" sldId="3552"/>
            <ac:spMk id="3" creationId="{4AB4C116-34D3-4F0C-8B13-57503C71E00D}"/>
          </ac:spMkLst>
        </pc:spChg>
        <pc:spChg chg="add del mod">
          <ac:chgData name="Annette Ysland Ludvigsen" userId="5cc2156a-4192-4fe6-8372-bcf947567e0f" providerId="ADAL" clId="{29604A7C-77EF-4D8C-A274-1EAA9DB0101B}" dt="2021-06-10T20:20:59.155" v="4968" actId="478"/>
          <ac:spMkLst>
            <pc:docMk/>
            <pc:sldMk cId="406569202" sldId="3552"/>
            <ac:spMk id="5" creationId="{D4A0B236-7A3E-44B2-835C-67EAD5FCEEFA}"/>
          </ac:spMkLst>
        </pc:spChg>
        <pc:spChg chg="add del">
          <ac:chgData name="Annette Ysland Ludvigsen" userId="5cc2156a-4192-4fe6-8372-bcf947567e0f" providerId="ADAL" clId="{29604A7C-77EF-4D8C-A274-1EAA9DB0101B}" dt="2021-06-10T20:21:16.545" v="4971" actId="26606"/>
          <ac:spMkLst>
            <pc:docMk/>
            <pc:sldMk cId="406569202" sldId="3552"/>
            <ac:spMk id="11" creationId="{03AF1C04-3FEF-41BD-BB84-2F263765BEBC}"/>
          </ac:spMkLst>
        </pc:spChg>
        <pc:spChg chg="add del">
          <ac:chgData name="Annette Ysland Ludvigsen" userId="5cc2156a-4192-4fe6-8372-bcf947567e0f" providerId="ADAL" clId="{29604A7C-77EF-4D8C-A274-1EAA9DB0101B}" dt="2021-06-10T20:21:21.389" v="4973" actId="26606"/>
          <ac:spMkLst>
            <pc:docMk/>
            <pc:sldMk cId="406569202" sldId="3552"/>
            <ac:spMk id="30" creationId="{73DE2CFE-42F2-48F0-8706-5264E012B10C}"/>
          </ac:spMkLst>
        </pc:spChg>
        <pc:spChg chg="add">
          <ac:chgData name="Annette Ysland Ludvigsen" userId="5cc2156a-4192-4fe6-8372-bcf947567e0f" providerId="ADAL" clId="{29604A7C-77EF-4D8C-A274-1EAA9DB0101B}" dt="2021-06-10T20:21:21.394" v="4974" actId="26606"/>
          <ac:spMkLst>
            <pc:docMk/>
            <pc:sldMk cId="406569202" sldId="3552"/>
            <ac:spMk id="32" creationId="{5E39A796-BE83-48B1-B33F-35C4A32AAB57}"/>
          </ac:spMkLst>
        </pc:spChg>
        <pc:spChg chg="add">
          <ac:chgData name="Annette Ysland Ludvigsen" userId="5cc2156a-4192-4fe6-8372-bcf947567e0f" providerId="ADAL" clId="{29604A7C-77EF-4D8C-A274-1EAA9DB0101B}" dt="2021-06-10T20:21:21.394" v="4974" actId="26606"/>
          <ac:spMkLst>
            <pc:docMk/>
            <pc:sldMk cId="406569202" sldId="3552"/>
            <ac:spMk id="33" creationId="{72F84B47-E267-4194-8194-831DB7B5547F}"/>
          </ac:spMkLst>
        </pc:spChg>
        <pc:grpChg chg="add del">
          <ac:chgData name="Annette Ysland Ludvigsen" userId="5cc2156a-4192-4fe6-8372-bcf947567e0f" providerId="ADAL" clId="{29604A7C-77EF-4D8C-A274-1EAA9DB0101B}" dt="2021-06-10T20:21:16.545" v="4971" actId="26606"/>
          <ac:grpSpMkLst>
            <pc:docMk/>
            <pc:sldMk cId="406569202" sldId="3552"/>
            <ac:grpSpMk id="13" creationId="{2DD5E267-EB6F-47DF-ABEF-2C1BED44DAC6}"/>
          </ac:grpSpMkLst>
        </pc:grpChg>
        <pc:grpChg chg="add del">
          <ac:chgData name="Annette Ysland Ludvigsen" userId="5cc2156a-4192-4fe6-8372-bcf947567e0f" providerId="ADAL" clId="{29604A7C-77EF-4D8C-A274-1EAA9DB0101B}" dt="2021-06-10T20:21:16.545" v="4971" actId="26606"/>
          <ac:grpSpMkLst>
            <pc:docMk/>
            <pc:sldMk cId="406569202" sldId="3552"/>
            <ac:grpSpMk id="17" creationId="{66828D02-A05D-412B-9F20-B68E970B9FC2}"/>
          </ac:grpSpMkLst>
        </pc:grpChg>
        <pc:grpChg chg="add del">
          <ac:chgData name="Annette Ysland Ludvigsen" userId="5cc2156a-4192-4fe6-8372-bcf947567e0f" providerId="ADAL" clId="{29604A7C-77EF-4D8C-A274-1EAA9DB0101B}" dt="2021-06-10T20:21:16.545" v="4971" actId="26606"/>
          <ac:grpSpMkLst>
            <pc:docMk/>
            <pc:sldMk cId="406569202" sldId="3552"/>
            <ac:grpSpMk id="21" creationId="{E27AF472-EAE3-4572-AB69-B92BD10DBC6D}"/>
          </ac:grpSpMkLst>
        </pc:grpChg>
        <pc:picChg chg="add del">
          <ac:chgData name="Annette Ysland Ludvigsen" userId="5cc2156a-4192-4fe6-8372-bcf947567e0f" providerId="ADAL" clId="{29604A7C-77EF-4D8C-A274-1EAA9DB0101B}" dt="2021-06-10T20:20:57.806" v="4967" actId="478"/>
          <ac:picMkLst>
            <pc:docMk/>
            <pc:sldMk cId="406569202" sldId="3552"/>
            <ac:picMk id="4" creationId="{7451A49E-287D-4458-B2E1-4FE3448C0600}"/>
          </ac:picMkLst>
        </pc:picChg>
        <pc:picChg chg="add mod ord">
          <ac:chgData name="Annette Ysland Ludvigsen" userId="5cc2156a-4192-4fe6-8372-bcf947567e0f" providerId="ADAL" clId="{29604A7C-77EF-4D8C-A274-1EAA9DB0101B}" dt="2021-06-10T20:21:21.394" v="4974" actId="26606"/>
          <ac:picMkLst>
            <pc:docMk/>
            <pc:sldMk cId="406569202" sldId="3552"/>
            <ac:picMk id="6" creationId="{341E488E-E58E-4A15-A549-62C1B129C222}"/>
          </ac:picMkLst>
        </pc:picChg>
      </pc:sldChg>
      <pc:sldChg chg="modSp new mod modAnim">
        <pc:chgData name="Annette Ysland Ludvigsen" userId="5cc2156a-4192-4fe6-8372-bcf947567e0f" providerId="ADAL" clId="{29604A7C-77EF-4D8C-A274-1EAA9DB0101B}" dt="2021-06-11T06:21:30.233" v="6593"/>
        <pc:sldMkLst>
          <pc:docMk/>
          <pc:sldMk cId="2199471749" sldId="3553"/>
        </pc:sldMkLst>
        <pc:spChg chg="mod">
          <ac:chgData name="Annette Ysland Ludvigsen" userId="5cc2156a-4192-4fe6-8372-bcf947567e0f" providerId="ADAL" clId="{29604A7C-77EF-4D8C-A274-1EAA9DB0101B}" dt="2021-06-10T20:03:27.946" v="4479" actId="20577"/>
          <ac:spMkLst>
            <pc:docMk/>
            <pc:sldMk cId="2199471749" sldId="3553"/>
            <ac:spMk id="2" creationId="{CB687EBF-0D56-4512-883F-235BD2CC5AE7}"/>
          </ac:spMkLst>
        </pc:spChg>
        <pc:spChg chg="mod">
          <ac:chgData name="Annette Ysland Ludvigsen" userId="5cc2156a-4192-4fe6-8372-bcf947567e0f" providerId="ADAL" clId="{29604A7C-77EF-4D8C-A274-1EAA9DB0101B}" dt="2021-06-10T20:03:19.621" v="4464" actId="113"/>
          <ac:spMkLst>
            <pc:docMk/>
            <pc:sldMk cId="2199471749" sldId="3553"/>
            <ac:spMk id="3" creationId="{A6E6C814-64E8-4B41-BAA4-60D24C56B256}"/>
          </ac:spMkLst>
        </pc:spChg>
      </pc:sldChg>
      <pc:sldChg chg="addSp delSp modSp add mod ord setBg delDesignElem">
        <pc:chgData name="Annette Ysland Ludvigsen" userId="5cc2156a-4192-4fe6-8372-bcf947567e0f" providerId="ADAL" clId="{29604A7C-77EF-4D8C-A274-1EAA9DB0101B}" dt="2021-06-11T06:55:51.230" v="6810"/>
        <pc:sldMkLst>
          <pc:docMk/>
          <pc:sldMk cId="1426443385" sldId="3554"/>
        </pc:sldMkLst>
        <pc:spChg chg="mod ord">
          <ac:chgData name="Annette Ysland Ludvigsen" userId="5cc2156a-4192-4fe6-8372-bcf947567e0f" providerId="ADAL" clId="{29604A7C-77EF-4D8C-A274-1EAA9DB0101B}" dt="2021-06-10T20:16:31.275" v="4927" actId="14100"/>
          <ac:spMkLst>
            <pc:docMk/>
            <pc:sldMk cId="1426443385" sldId="3554"/>
            <ac:spMk id="2" creationId="{90BA2F0A-9D8F-40E4-B51B-11D526390FC5}"/>
          </ac:spMkLst>
        </pc:spChg>
        <pc:spChg chg="mod">
          <ac:chgData name="Annette Ysland Ludvigsen" userId="5cc2156a-4192-4fe6-8372-bcf947567e0f" providerId="ADAL" clId="{29604A7C-77EF-4D8C-A274-1EAA9DB0101B}" dt="2021-06-11T06:55:51.230" v="6810"/>
          <ac:spMkLst>
            <pc:docMk/>
            <pc:sldMk cId="1426443385" sldId="3554"/>
            <ac:spMk id="3" creationId="{EDE1B92B-B0DF-45D1-9A50-84189FB7892D}"/>
          </ac:spMkLst>
        </pc:spChg>
        <pc:spChg chg="del">
          <ac:chgData name="Annette Ysland Ludvigsen" userId="5cc2156a-4192-4fe6-8372-bcf947567e0f" providerId="ADAL" clId="{29604A7C-77EF-4D8C-A274-1EAA9DB0101B}" dt="2021-06-10T20:11:09.528" v="4608"/>
          <ac:spMkLst>
            <pc:docMk/>
            <pc:sldMk cId="1426443385" sldId="3554"/>
            <ac:spMk id="10" creationId="{23A58148-D452-4F6F-A2FE-EED968DE1970}"/>
          </ac:spMkLst>
        </pc:spChg>
        <pc:spChg chg="add del">
          <ac:chgData name="Annette Ysland Ludvigsen" userId="5cc2156a-4192-4fe6-8372-bcf947567e0f" providerId="ADAL" clId="{29604A7C-77EF-4D8C-A274-1EAA9DB0101B}" dt="2021-06-10T20:16:22.558" v="4922" actId="26606"/>
          <ac:spMkLst>
            <pc:docMk/>
            <pc:sldMk cId="1426443385" sldId="3554"/>
            <ac:spMk id="12" creationId="{23A58148-D452-4F6F-A2FE-EED968DE1970}"/>
          </ac:spMkLst>
        </pc:spChg>
        <pc:spChg chg="add del">
          <ac:chgData name="Annette Ysland Ludvigsen" userId="5cc2156a-4192-4fe6-8372-bcf947567e0f" providerId="ADAL" clId="{29604A7C-77EF-4D8C-A274-1EAA9DB0101B}" dt="2021-06-10T20:16:22.481" v="4921" actId="26606"/>
          <ac:spMkLst>
            <pc:docMk/>
            <pc:sldMk cId="1426443385" sldId="3554"/>
            <ac:spMk id="17" creationId="{913AE63C-D5B4-45D1-ACFC-648CFFCF9805}"/>
          </ac:spMkLst>
        </pc:spChg>
        <pc:spChg chg="add">
          <ac:chgData name="Annette Ysland Ludvigsen" userId="5cc2156a-4192-4fe6-8372-bcf947567e0f" providerId="ADAL" clId="{29604A7C-77EF-4D8C-A274-1EAA9DB0101B}" dt="2021-06-10T20:16:22.558" v="4922" actId="26606"/>
          <ac:spMkLst>
            <pc:docMk/>
            <pc:sldMk cId="1426443385" sldId="3554"/>
            <ac:spMk id="35" creationId="{03AF1C04-3FEF-41BD-BB84-2F263765BEBC}"/>
          </ac:spMkLst>
        </pc:spChg>
        <pc:grpChg chg="add del">
          <ac:chgData name="Annette Ysland Ludvigsen" userId="5cc2156a-4192-4fe6-8372-bcf947567e0f" providerId="ADAL" clId="{29604A7C-77EF-4D8C-A274-1EAA9DB0101B}" dt="2021-06-10T20:16:22.481" v="4921" actId="26606"/>
          <ac:grpSpMkLst>
            <pc:docMk/>
            <pc:sldMk cId="1426443385" sldId="3554"/>
            <ac:grpSpMk id="19" creationId="{6536E295-EF5B-4BE9-A4CB-D5C581AAA999}"/>
          </ac:grpSpMkLst>
        </pc:grpChg>
        <pc:grpChg chg="add del">
          <ac:chgData name="Annette Ysland Ludvigsen" userId="5cc2156a-4192-4fe6-8372-bcf947567e0f" providerId="ADAL" clId="{29604A7C-77EF-4D8C-A274-1EAA9DB0101B}" dt="2021-06-10T20:16:22.481" v="4921" actId="26606"/>
          <ac:grpSpMkLst>
            <pc:docMk/>
            <pc:sldMk cId="1426443385" sldId="3554"/>
            <ac:grpSpMk id="23" creationId="{E27AF472-EAE3-4572-AB69-B92BD10DBC6D}"/>
          </ac:grpSpMkLst>
        </pc:grpChg>
        <pc:grpChg chg="add">
          <ac:chgData name="Annette Ysland Ludvigsen" userId="5cc2156a-4192-4fe6-8372-bcf947567e0f" providerId="ADAL" clId="{29604A7C-77EF-4D8C-A274-1EAA9DB0101B}" dt="2021-06-10T20:16:22.558" v="4922" actId="26606"/>
          <ac:grpSpMkLst>
            <pc:docMk/>
            <pc:sldMk cId="1426443385" sldId="3554"/>
            <ac:grpSpMk id="36" creationId="{2DD5E267-EB6F-47DF-ABEF-2C1BED44DAC6}"/>
          </ac:grpSpMkLst>
        </pc:grpChg>
        <pc:grpChg chg="add">
          <ac:chgData name="Annette Ysland Ludvigsen" userId="5cc2156a-4192-4fe6-8372-bcf947567e0f" providerId="ADAL" clId="{29604A7C-77EF-4D8C-A274-1EAA9DB0101B}" dt="2021-06-10T20:16:22.558" v="4922" actId="26606"/>
          <ac:grpSpMkLst>
            <pc:docMk/>
            <pc:sldMk cId="1426443385" sldId="3554"/>
            <ac:grpSpMk id="39" creationId="{66828D02-A05D-412B-9F20-B68E970B9FC2}"/>
          </ac:grpSpMkLst>
        </pc:grpChg>
        <pc:grpChg chg="add">
          <ac:chgData name="Annette Ysland Ludvigsen" userId="5cc2156a-4192-4fe6-8372-bcf947567e0f" providerId="ADAL" clId="{29604A7C-77EF-4D8C-A274-1EAA9DB0101B}" dt="2021-06-10T20:16:22.558" v="4922" actId="26606"/>
          <ac:grpSpMkLst>
            <pc:docMk/>
            <pc:sldMk cId="1426443385" sldId="3554"/>
            <ac:grpSpMk id="42" creationId="{E27AF472-EAE3-4572-AB69-B92BD10DBC6D}"/>
          </ac:grpSpMkLst>
        </pc:grpChg>
        <pc:picChg chg="del mod">
          <ac:chgData name="Annette Ysland Ludvigsen" userId="5cc2156a-4192-4fe6-8372-bcf947567e0f" providerId="ADAL" clId="{29604A7C-77EF-4D8C-A274-1EAA9DB0101B}" dt="2021-06-10T20:16:37.524" v="4930" actId="478"/>
          <ac:picMkLst>
            <pc:docMk/>
            <pc:sldMk cId="1426443385" sldId="3554"/>
            <ac:picMk id="7" creationId="{172CB2A6-062F-4951-8460-00DA10EE11DF}"/>
          </ac:picMkLst>
        </pc:picChg>
      </pc:sldChg>
      <pc:sldChg chg="addSp modSp new mod setBg">
        <pc:chgData name="Annette Ysland Ludvigsen" userId="5cc2156a-4192-4fe6-8372-bcf947567e0f" providerId="ADAL" clId="{29604A7C-77EF-4D8C-A274-1EAA9DB0101B}" dt="2021-06-10T20:16:00.194" v="4919" actId="26606"/>
        <pc:sldMkLst>
          <pc:docMk/>
          <pc:sldMk cId="813648706" sldId="3555"/>
        </pc:sldMkLst>
        <pc:spChg chg="mod">
          <ac:chgData name="Annette Ysland Ludvigsen" userId="5cc2156a-4192-4fe6-8372-bcf947567e0f" providerId="ADAL" clId="{29604A7C-77EF-4D8C-A274-1EAA9DB0101B}" dt="2021-06-10T20:16:00.194" v="4919" actId="26606"/>
          <ac:spMkLst>
            <pc:docMk/>
            <pc:sldMk cId="813648706" sldId="3555"/>
            <ac:spMk id="2" creationId="{92BAED89-A0B9-4143-B84F-6EC269F4A90A}"/>
          </ac:spMkLst>
        </pc:spChg>
        <pc:spChg chg="mod">
          <ac:chgData name="Annette Ysland Ludvigsen" userId="5cc2156a-4192-4fe6-8372-bcf947567e0f" providerId="ADAL" clId="{29604A7C-77EF-4D8C-A274-1EAA9DB0101B}" dt="2021-06-10T20:16:00.194" v="4919" actId="26606"/>
          <ac:spMkLst>
            <pc:docMk/>
            <pc:sldMk cId="813648706" sldId="3555"/>
            <ac:spMk id="3" creationId="{3C05007C-5959-42BC-B40A-E1E930FB1B11}"/>
          </ac:spMkLst>
        </pc:spChg>
        <pc:spChg chg="add">
          <ac:chgData name="Annette Ysland Ludvigsen" userId="5cc2156a-4192-4fe6-8372-bcf947567e0f" providerId="ADAL" clId="{29604A7C-77EF-4D8C-A274-1EAA9DB0101B}" dt="2021-06-10T20:16:00.194" v="4919" actId="26606"/>
          <ac:spMkLst>
            <pc:docMk/>
            <pc:sldMk cId="813648706" sldId="3555"/>
            <ac:spMk id="8" creationId="{C7D023E4-8DE1-436E-9847-ED6A4B4B04FD}"/>
          </ac:spMkLst>
        </pc:spChg>
        <pc:spChg chg="add">
          <ac:chgData name="Annette Ysland Ludvigsen" userId="5cc2156a-4192-4fe6-8372-bcf947567e0f" providerId="ADAL" clId="{29604A7C-77EF-4D8C-A274-1EAA9DB0101B}" dt="2021-06-10T20:16:00.194" v="4919" actId="26606"/>
          <ac:spMkLst>
            <pc:docMk/>
            <pc:sldMk cId="813648706" sldId="3555"/>
            <ac:spMk id="10" creationId="{6BE11944-ED05-4FE9-9927-06C110BB3A36}"/>
          </ac:spMkLst>
        </pc:spChg>
        <pc:grpChg chg="add">
          <ac:chgData name="Annette Ysland Ludvigsen" userId="5cc2156a-4192-4fe6-8372-bcf947567e0f" providerId="ADAL" clId="{29604A7C-77EF-4D8C-A274-1EAA9DB0101B}" dt="2021-06-10T20:16:00.194" v="4919" actId="26606"/>
          <ac:grpSpMkLst>
            <pc:docMk/>
            <pc:sldMk cId="813648706" sldId="3555"/>
            <ac:grpSpMk id="12" creationId="{A2812508-238C-4BCD-BDD3-25C99C5CA233}"/>
          </ac:grpSpMkLst>
        </pc:grpChg>
        <pc:grpChg chg="add">
          <ac:chgData name="Annette Ysland Ludvigsen" userId="5cc2156a-4192-4fe6-8372-bcf947567e0f" providerId="ADAL" clId="{29604A7C-77EF-4D8C-A274-1EAA9DB0101B}" dt="2021-06-10T20:16:00.194" v="4919" actId="26606"/>
          <ac:grpSpMkLst>
            <pc:docMk/>
            <pc:sldMk cId="813648706" sldId="3555"/>
            <ac:grpSpMk id="16" creationId="{43F5E015-E085-4624-B431-B42414448684}"/>
          </ac:grpSpMkLst>
        </pc:grpChg>
      </pc:sldChg>
      <pc:sldChg chg="addSp delSp modSp new mod">
        <pc:chgData name="Annette Ysland Ludvigsen" userId="5cc2156a-4192-4fe6-8372-bcf947567e0f" providerId="ADAL" clId="{29604A7C-77EF-4D8C-A274-1EAA9DB0101B}" dt="2021-06-14T06:47:25.556" v="8369" actId="1076"/>
        <pc:sldMkLst>
          <pc:docMk/>
          <pc:sldMk cId="2216956745" sldId="3556"/>
        </pc:sldMkLst>
        <pc:spChg chg="mod">
          <ac:chgData name="Annette Ysland Ludvigsen" userId="5cc2156a-4192-4fe6-8372-bcf947567e0f" providerId="ADAL" clId="{29604A7C-77EF-4D8C-A274-1EAA9DB0101B}" dt="2021-06-10T20:23:38.489" v="5034" actId="20577"/>
          <ac:spMkLst>
            <pc:docMk/>
            <pc:sldMk cId="2216956745" sldId="3556"/>
            <ac:spMk id="2" creationId="{111A2F35-F743-4E63-BF3B-AA76E3027FD5}"/>
          </ac:spMkLst>
        </pc:spChg>
        <pc:spChg chg="del">
          <ac:chgData name="Annette Ysland Ludvigsen" userId="5cc2156a-4192-4fe6-8372-bcf947567e0f" providerId="ADAL" clId="{29604A7C-77EF-4D8C-A274-1EAA9DB0101B}" dt="2021-06-10T20:23:41.878" v="5035" actId="478"/>
          <ac:spMkLst>
            <pc:docMk/>
            <pc:sldMk cId="2216956745" sldId="3556"/>
            <ac:spMk id="3" creationId="{EB562B82-C532-4FF4-A762-7FDC69C1FB72}"/>
          </ac:spMkLst>
        </pc:spChg>
        <pc:picChg chg="add mod modCrop">
          <ac:chgData name="Annette Ysland Ludvigsen" userId="5cc2156a-4192-4fe6-8372-bcf947567e0f" providerId="ADAL" clId="{29604A7C-77EF-4D8C-A274-1EAA9DB0101B}" dt="2021-06-14T06:47:25.556" v="8369" actId="1076"/>
          <ac:picMkLst>
            <pc:docMk/>
            <pc:sldMk cId="2216956745" sldId="3556"/>
            <ac:picMk id="4" creationId="{488E811C-5857-477E-A9F8-E261EA1FBF6B}"/>
          </ac:picMkLst>
        </pc:picChg>
      </pc:sldChg>
      <pc:sldChg chg="addSp delSp modSp add del mod modTransition addAnim delAnim modAnim">
        <pc:chgData name="Annette Ysland Ludvigsen" userId="5cc2156a-4192-4fe6-8372-bcf947567e0f" providerId="ADAL" clId="{29604A7C-77EF-4D8C-A274-1EAA9DB0101B}" dt="2021-06-14T06:09:44.365" v="8243" actId="47"/>
        <pc:sldMkLst>
          <pc:docMk/>
          <pc:sldMk cId="3269805076" sldId="3557"/>
        </pc:sldMkLst>
        <pc:spChg chg="mod">
          <ac:chgData name="Annette Ysland Ludvigsen" userId="5cc2156a-4192-4fe6-8372-bcf947567e0f" providerId="ADAL" clId="{29604A7C-77EF-4D8C-A274-1EAA9DB0101B}" dt="2021-06-10T20:31:07.141" v="5107" actId="20577"/>
          <ac:spMkLst>
            <pc:docMk/>
            <pc:sldMk cId="3269805076" sldId="3557"/>
            <ac:spMk id="2" creationId="{213C987E-92F7-4ADA-BEE4-DB885580E9D0}"/>
          </ac:spMkLst>
        </pc:spChg>
        <pc:spChg chg="mod">
          <ac:chgData name="Annette Ysland Ludvigsen" userId="5cc2156a-4192-4fe6-8372-bcf947567e0f" providerId="ADAL" clId="{29604A7C-77EF-4D8C-A274-1EAA9DB0101B}" dt="2021-06-10T20:31:28.001" v="5122" actId="20577"/>
          <ac:spMkLst>
            <pc:docMk/>
            <pc:sldMk cId="3269805076" sldId="3557"/>
            <ac:spMk id="4" creationId="{3E60212A-BF7C-445B-AB3D-E47B6668DF7C}"/>
          </ac:spMkLst>
        </pc:spChg>
        <pc:spChg chg="mod">
          <ac:chgData name="Annette Ysland Ludvigsen" userId="5cc2156a-4192-4fe6-8372-bcf947567e0f" providerId="ADAL" clId="{29604A7C-77EF-4D8C-A274-1EAA9DB0101B}" dt="2021-06-10T20:33:07.715" v="5163" actId="20577"/>
          <ac:spMkLst>
            <pc:docMk/>
            <pc:sldMk cId="3269805076" sldId="3557"/>
            <ac:spMk id="7" creationId="{D83C8163-FEBA-4B54-AD61-040673531BA3}"/>
          </ac:spMkLst>
        </pc:spChg>
        <pc:spChg chg="mod">
          <ac:chgData name="Annette Ysland Ludvigsen" userId="5cc2156a-4192-4fe6-8372-bcf947567e0f" providerId="ADAL" clId="{29604A7C-77EF-4D8C-A274-1EAA9DB0101B}" dt="2021-06-11T05:51:32.171" v="6081" actId="20577"/>
          <ac:spMkLst>
            <pc:docMk/>
            <pc:sldMk cId="3269805076" sldId="3557"/>
            <ac:spMk id="8" creationId="{6F323743-564E-4593-8A7A-03C9D4CE75C2}"/>
          </ac:spMkLst>
        </pc:spChg>
        <pc:spChg chg="del">
          <ac:chgData name="Annette Ysland Ludvigsen" userId="5cc2156a-4192-4fe6-8372-bcf947567e0f" providerId="ADAL" clId="{29604A7C-77EF-4D8C-A274-1EAA9DB0101B}" dt="2021-06-10T20:31:10.202" v="5108" actId="478"/>
          <ac:spMkLst>
            <pc:docMk/>
            <pc:sldMk cId="3269805076" sldId="3557"/>
            <ac:spMk id="9" creationId="{C9442EFD-0E08-41D0-97AA-C1C49DD3E084}"/>
          </ac:spMkLst>
        </pc:spChg>
        <pc:spChg chg="del">
          <ac:chgData name="Annette Ysland Ludvigsen" userId="5cc2156a-4192-4fe6-8372-bcf947567e0f" providerId="ADAL" clId="{29604A7C-77EF-4D8C-A274-1EAA9DB0101B}" dt="2021-06-10T20:31:14.709" v="5109" actId="478"/>
          <ac:spMkLst>
            <pc:docMk/>
            <pc:sldMk cId="3269805076" sldId="3557"/>
            <ac:spMk id="10" creationId="{A6EDA797-AB55-4E96-AC20-7CDE40519F41}"/>
          </ac:spMkLst>
        </pc:spChg>
        <pc:spChg chg="del">
          <ac:chgData name="Annette Ysland Ludvigsen" userId="5cc2156a-4192-4fe6-8372-bcf947567e0f" providerId="ADAL" clId="{29604A7C-77EF-4D8C-A274-1EAA9DB0101B}" dt="2021-06-10T20:31:16.750" v="5110" actId="478"/>
          <ac:spMkLst>
            <pc:docMk/>
            <pc:sldMk cId="3269805076" sldId="3557"/>
            <ac:spMk id="11" creationId="{0644FFB8-D637-4FA8-A66E-720D2A8BFE29}"/>
          </ac:spMkLst>
        </pc:spChg>
        <pc:spChg chg="mod">
          <ac:chgData name="Annette Ysland Ludvigsen" userId="5cc2156a-4192-4fe6-8372-bcf947567e0f" providerId="ADAL" clId="{29604A7C-77EF-4D8C-A274-1EAA9DB0101B}" dt="2021-06-10T20:31:48.360" v="5128" actId="1076"/>
          <ac:spMkLst>
            <pc:docMk/>
            <pc:sldMk cId="3269805076" sldId="3557"/>
            <ac:spMk id="12" creationId="{A2ACC987-ACB2-4848-9ABC-1372B475F73B}"/>
          </ac:spMkLst>
        </pc:spChg>
        <pc:spChg chg="mod">
          <ac:chgData name="Annette Ysland Ludvigsen" userId="5cc2156a-4192-4fe6-8372-bcf947567e0f" providerId="ADAL" clId="{29604A7C-77EF-4D8C-A274-1EAA9DB0101B}" dt="2021-06-14T05:57:07.776" v="7814" actId="1076"/>
          <ac:spMkLst>
            <pc:docMk/>
            <pc:sldMk cId="3269805076" sldId="3557"/>
            <ac:spMk id="13" creationId="{31774EA0-950E-4655-A5E3-40BBBD8316AF}"/>
          </ac:spMkLst>
        </pc:spChg>
        <pc:spChg chg="add mod">
          <ac:chgData name="Annette Ysland Ludvigsen" userId="5cc2156a-4192-4fe6-8372-bcf947567e0f" providerId="ADAL" clId="{29604A7C-77EF-4D8C-A274-1EAA9DB0101B}" dt="2021-06-11T06:30:07.463" v="6696" actId="208"/>
          <ac:spMkLst>
            <pc:docMk/>
            <pc:sldMk cId="3269805076" sldId="3557"/>
            <ac:spMk id="14" creationId="{3B2B6C89-6B8B-4754-B153-887603A12BD9}"/>
          </ac:spMkLst>
        </pc:spChg>
        <pc:spChg chg="del">
          <ac:chgData name="Annette Ysland Ludvigsen" userId="5cc2156a-4192-4fe6-8372-bcf947567e0f" providerId="ADAL" clId="{29604A7C-77EF-4D8C-A274-1EAA9DB0101B}" dt="2021-06-10T20:31:18.665" v="5111" actId="478"/>
          <ac:spMkLst>
            <pc:docMk/>
            <pc:sldMk cId="3269805076" sldId="3557"/>
            <ac:spMk id="14" creationId="{51A6D67F-F01E-40E8-BE6B-3BBF17C29CDD}"/>
          </ac:spMkLst>
        </pc:spChg>
        <pc:graphicFrameChg chg="add del mod modGraphic">
          <ac:chgData name="Annette Ysland Ludvigsen" userId="5cc2156a-4192-4fe6-8372-bcf947567e0f" providerId="ADAL" clId="{29604A7C-77EF-4D8C-A274-1EAA9DB0101B}" dt="2021-06-14T05:57:12.771" v="7815" actId="21"/>
          <ac:graphicFrameMkLst>
            <pc:docMk/>
            <pc:sldMk cId="3269805076" sldId="3557"/>
            <ac:graphicFrameMk id="9" creationId="{1993B3CD-35DE-4A33-9D50-1AAC63AC002C}"/>
          </ac:graphicFrameMkLst>
        </pc:graphicFrameChg>
        <pc:cxnChg chg="mod">
          <ac:chgData name="Annette Ysland Ludvigsen" userId="5cc2156a-4192-4fe6-8372-bcf947567e0f" providerId="ADAL" clId="{29604A7C-77EF-4D8C-A274-1EAA9DB0101B}" dt="2021-06-11T05:52:04.518" v="6088" actId="14100"/>
          <ac:cxnSpMkLst>
            <pc:docMk/>
            <pc:sldMk cId="3269805076" sldId="3557"/>
            <ac:cxnSpMk id="40" creationId="{61B44143-45A6-4308-9900-26E35F33D949}"/>
          </ac:cxnSpMkLst>
        </pc:cxnChg>
        <pc:cxnChg chg="del mod">
          <ac:chgData name="Annette Ysland Ludvigsen" userId="5cc2156a-4192-4fe6-8372-bcf947567e0f" providerId="ADAL" clId="{29604A7C-77EF-4D8C-A274-1EAA9DB0101B}" dt="2021-06-10T20:31:34.924" v="5124" actId="478"/>
          <ac:cxnSpMkLst>
            <pc:docMk/>
            <pc:sldMk cId="3269805076" sldId="3557"/>
            <ac:cxnSpMk id="47" creationId="{CD562411-9C1A-4E5D-8033-26AE655814E4}"/>
          </ac:cxnSpMkLst>
        </pc:cxnChg>
        <pc:cxnChg chg="del mod">
          <ac:chgData name="Annette Ysland Ludvigsen" userId="5cc2156a-4192-4fe6-8372-bcf947567e0f" providerId="ADAL" clId="{29604A7C-77EF-4D8C-A274-1EAA9DB0101B}" dt="2021-06-10T20:31:32.682" v="5123" actId="478"/>
          <ac:cxnSpMkLst>
            <pc:docMk/>
            <pc:sldMk cId="3269805076" sldId="3557"/>
            <ac:cxnSpMk id="49" creationId="{58B9CBA8-E236-482E-B919-9E6EDF8C694F}"/>
          </ac:cxnSpMkLst>
        </pc:cxnChg>
        <pc:cxnChg chg="mod">
          <ac:chgData name="Annette Ysland Ludvigsen" userId="5cc2156a-4192-4fe6-8372-bcf947567e0f" providerId="ADAL" clId="{29604A7C-77EF-4D8C-A274-1EAA9DB0101B}" dt="2021-06-10T20:31:54.601" v="5130" actId="14100"/>
          <ac:cxnSpMkLst>
            <pc:docMk/>
            <pc:sldMk cId="3269805076" sldId="3557"/>
            <ac:cxnSpMk id="51" creationId="{06BBBA9C-905E-4AF8-813C-2AF5BE3C7DD4}"/>
          </ac:cxnSpMkLst>
        </pc:cxnChg>
        <pc:cxnChg chg="mod">
          <ac:chgData name="Annette Ysland Ludvigsen" userId="5cc2156a-4192-4fe6-8372-bcf947567e0f" providerId="ADAL" clId="{29604A7C-77EF-4D8C-A274-1EAA9DB0101B}" dt="2021-06-10T20:31:28.001" v="5122" actId="20577"/>
          <ac:cxnSpMkLst>
            <pc:docMk/>
            <pc:sldMk cId="3269805076" sldId="3557"/>
            <ac:cxnSpMk id="61" creationId="{90BAFC37-38B0-45DD-8EA6-5B2452899701}"/>
          </ac:cxnSpMkLst>
        </pc:cxnChg>
        <pc:cxnChg chg="mod">
          <ac:chgData name="Annette Ysland Ludvigsen" userId="5cc2156a-4192-4fe6-8372-bcf947567e0f" providerId="ADAL" clId="{29604A7C-77EF-4D8C-A274-1EAA9DB0101B}" dt="2021-06-11T05:51:36.682" v="6083" actId="14100"/>
          <ac:cxnSpMkLst>
            <pc:docMk/>
            <pc:sldMk cId="3269805076" sldId="3557"/>
            <ac:cxnSpMk id="63" creationId="{595A86D8-C3DB-4A25-BE9A-E43922219551}"/>
          </ac:cxnSpMkLst>
        </pc:cxnChg>
        <pc:cxnChg chg="del mod">
          <ac:chgData name="Annette Ysland Ludvigsen" userId="5cc2156a-4192-4fe6-8372-bcf947567e0f" providerId="ADAL" clId="{29604A7C-77EF-4D8C-A274-1EAA9DB0101B}" dt="2021-06-10T20:31:36.928" v="5125" actId="478"/>
          <ac:cxnSpMkLst>
            <pc:docMk/>
            <pc:sldMk cId="3269805076" sldId="3557"/>
            <ac:cxnSpMk id="65" creationId="{A777DC3E-8511-452C-B92E-51DBBC1F551F}"/>
          </ac:cxnSpMkLst>
        </pc:cxnChg>
        <pc:cxnChg chg="mod">
          <ac:chgData name="Annette Ysland Ludvigsen" userId="5cc2156a-4192-4fe6-8372-bcf947567e0f" providerId="ADAL" clId="{29604A7C-77EF-4D8C-A274-1EAA9DB0101B}" dt="2021-06-14T05:57:07.776" v="7814" actId="1076"/>
          <ac:cxnSpMkLst>
            <pc:docMk/>
            <pc:sldMk cId="3269805076" sldId="3557"/>
            <ac:cxnSpMk id="67" creationId="{25FD0EB0-A97B-458E-9A94-A482BB022248}"/>
          </ac:cxnSpMkLst>
        </pc:cxnChg>
        <pc:cxnChg chg="del mod">
          <ac:chgData name="Annette Ysland Ludvigsen" userId="5cc2156a-4192-4fe6-8372-bcf947567e0f" providerId="ADAL" clId="{29604A7C-77EF-4D8C-A274-1EAA9DB0101B}" dt="2021-06-10T20:31:38.599" v="5126" actId="478"/>
          <ac:cxnSpMkLst>
            <pc:docMk/>
            <pc:sldMk cId="3269805076" sldId="3557"/>
            <ac:cxnSpMk id="69" creationId="{101ABB93-37DA-498C-A040-BA7B5DB31FE8}"/>
          </ac:cxnSpMkLst>
        </pc:cxnChg>
        <pc:cxnChg chg="mod">
          <ac:chgData name="Annette Ysland Ludvigsen" userId="5cc2156a-4192-4fe6-8372-bcf947567e0f" providerId="ADAL" clId="{29604A7C-77EF-4D8C-A274-1EAA9DB0101B}" dt="2021-06-10T20:33:07.715" v="5163" actId="20577"/>
          <ac:cxnSpMkLst>
            <pc:docMk/>
            <pc:sldMk cId="3269805076" sldId="3557"/>
            <ac:cxnSpMk id="93" creationId="{4BB188C5-686F-4B36-AE19-E587ED201530}"/>
          </ac:cxnSpMkLst>
        </pc:cxnChg>
      </pc:sldChg>
      <pc:sldChg chg="addSp delSp modSp add mod modTransition delAnim modAnim">
        <pc:chgData name="Annette Ysland Ludvigsen" userId="5cc2156a-4192-4fe6-8372-bcf947567e0f" providerId="ADAL" clId="{29604A7C-77EF-4D8C-A274-1EAA9DB0101B}" dt="2021-06-14T06:03:14.200" v="8106" actId="21"/>
        <pc:sldMkLst>
          <pc:docMk/>
          <pc:sldMk cId="1251254875" sldId="3558"/>
        </pc:sldMkLst>
        <pc:spChg chg="mod">
          <ac:chgData name="Annette Ysland Ludvigsen" userId="5cc2156a-4192-4fe6-8372-bcf947567e0f" providerId="ADAL" clId="{29604A7C-77EF-4D8C-A274-1EAA9DB0101B}" dt="2021-06-11T09:02:17.841" v="6814" actId="20577"/>
          <ac:spMkLst>
            <pc:docMk/>
            <pc:sldMk cId="1251254875" sldId="3558"/>
            <ac:spMk id="2" creationId="{213C987E-92F7-4ADA-BEE4-DB885580E9D0}"/>
          </ac:spMkLst>
        </pc:spChg>
        <pc:spChg chg="mod">
          <ac:chgData name="Annette Ysland Ludvigsen" userId="5cc2156a-4192-4fe6-8372-bcf947567e0f" providerId="ADAL" clId="{29604A7C-77EF-4D8C-A274-1EAA9DB0101B}" dt="2021-06-11T06:29:03.269" v="6595" actId="1076"/>
          <ac:spMkLst>
            <pc:docMk/>
            <pc:sldMk cId="1251254875" sldId="3558"/>
            <ac:spMk id="4" creationId="{3E60212A-BF7C-445B-AB3D-E47B6668DF7C}"/>
          </ac:spMkLst>
        </pc:spChg>
        <pc:spChg chg="mod">
          <ac:chgData name="Annette Ysland Ludvigsen" userId="5cc2156a-4192-4fe6-8372-bcf947567e0f" providerId="ADAL" clId="{29604A7C-77EF-4D8C-A274-1EAA9DB0101B}" dt="2021-06-10T20:32:53.958" v="5161" actId="20577"/>
          <ac:spMkLst>
            <pc:docMk/>
            <pc:sldMk cId="1251254875" sldId="3558"/>
            <ac:spMk id="7" creationId="{D83C8163-FEBA-4B54-AD61-040673531BA3}"/>
          </ac:spMkLst>
        </pc:spChg>
        <pc:spChg chg="mod">
          <ac:chgData name="Annette Ysland Ludvigsen" userId="5cc2156a-4192-4fe6-8372-bcf947567e0f" providerId="ADAL" clId="{29604A7C-77EF-4D8C-A274-1EAA9DB0101B}" dt="2021-06-10T20:32:41.203" v="5151" actId="1076"/>
          <ac:spMkLst>
            <pc:docMk/>
            <pc:sldMk cId="1251254875" sldId="3558"/>
            <ac:spMk id="8" creationId="{6F323743-564E-4593-8A7A-03C9D4CE75C2}"/>
          </ac:spMkLst>
        </pc:spChg>
        <pc:spChg chg="del">
          <ac:chgData name="Annette Ysland Ludvigsen" userId="5cc2156a-4192-4fe6-8372-bcf947567e0f" providerId="ADAL" clId="{29604A7C-77EF-4D8C-A274-1EAA9DB0101B}" dt="2021-06-10T20:32:16.179" v="5141" actId="478"/>
          <ac:spMkLst>
            <pc:docMk/>
            <pc:sldMk cId="1251254875" sldId="3558"/>
            <ac:spMk id="9" creationId="{C9442EFD-0E08-41D0-97AA-C1C49DD3E084}"/>
          </ac:spMkLst>
        </pc:spChg>
        <pc:spChg chg="mod">
          <ac:chgData name="Annette Ysland Ludvigsen" userId="5cc2156a-4192-4fe6-8372-bcf947567e0f" providerId="ADAL" clId="{29604A7C-77EF-4D8C-A274-1EAA9DB0101B}" dt="2021-06-10T20:32:38.786" v="5150" actId="1076"/>
          <ac:spMkLst>
            <pc:docMk/>
            <pc:sldMk cId="1251254875" sldId="3558"/>
            <ac:spMk id="10" creationId="{A6EDA797-AB55-4E96-AC20-7CDE40519F41}"/>
          </ac:spMkLst>
        </pc:spChg>
        <pc:spChg chg="del">
          <ac:chgData name="Annette Ysland Ludvigsen" userId="5cc2156a-4192-4fe6-8372-bcf947567e0f" providerId="ADAL" clId="{29604A7C-77EF-4D8C-A274-1EAA9DB0101B}" dt="2021-06-10T20:32:21.066" v="5143" actId="478"/>
          <ac:spMkLst>
            <pc:docMk/>
            <pc:sldMk cId="1251254875" sldId="3558"/>
            <ac:spMk id="11" creationId="{0644FFB8-D637-4FA8-A66E-720D2A8BFE29}"/>
          </ac:spMkLst>
        </pc:spChg>
        <pc:spChg chg="del">
          <ac:chgData name="Annette Ysland Ludvigsen" userId="5cc2156a-4192-4fe6-8372-bcf947567e0f" providerId="ADAL" clId="{29604A7C-77EF-4D8C-A274-1EAA9DB0101B}" dt="2021-06-10T20:32:18.105" v="5142" actId="478"/>
          <ac:spMkLst>
            <pc:docMk/>
            <pc:sldMk cId="1251254875" sldId="3558"/>
            <ac:spMk id="12" creationId="{A2ACC987-ACB2-4848-9ABC-1372B475F73B}"/>
          </ac:spMkLst>
        </pc:spChg>
        <pc:spChg chg="del">
          <ac:chgData name="Annette Ysland Ludvigsen" userId="5cc2156a-4192-4fe6-8372-bcf947567e0f" providerId="ADAL" clId="{29604A7C-77EF-4D8C-A274-1EAA9DB0101B}" dt="2021-06-10T20:32:23.178" v="5144" actId="478"/>
          <ac:spMkLst>
            <pc:docMk/>
            <pc:sldMk cId="1251254875" sldId="3558"/>
            <ac:spMk id="13" creationId="{31774EA0-950E-4655-A5E3-40BBBD8316AF}"/>
          </ac:spMkLst>
        </pc:spChg>
        <pc:spChg chg="mod">
          <ac:chgData name="Annette Ysland Ludvigsen" userId="5cc2156a-4192-4fe6-8372-bcf947567e0f" providerId="ADAL" clId="{29604A7C-77EF-4D8C-A274-1EAA9DB0101B}" dt="2021-06-10T20:32:35.507" v="5149" actId="1076"/>
          <ac:spMkLst>
            <pc:docMk/>
            <pc:sldMk cId="1251254875" sldId="3558"/>
            <ac:spMk id="14" creationId="{51A6D67F-F01E-40E8-BE6B-3BBF17C29CDD}"/>
          </ac:spMkLst>
        </pc:spChg>
        <pc:spChg chg="add mod">
          <ac:chgData name="Annette Ysland Ludvigsen" userId="5cc2156a-4192-4fe6-8372-bcf947567e0f" providerId="ADAL" clId="{29604A7C-77EF-4D8C-A274-1EAA9DB0101B}" dt="2021-06-11T05:52:57.335" v="6100" actId="571"/>
          <ac:spMkLst>
            <pc:docMk/>
            <pc:sldMk cId="1251254875" sldId="3558"/>
            <ac:spMk id="34" creationId="{09544389-8BD5-4AE5-8D3A-0F9CBAA58041}"/>
          </ac:spMkLst>
        </pc:spChg>
        <pc:graphicFrameChg chg="add del mod modGraphic">
          <ac:chgData name="Annette Ysland Ludvigsen" userId="5cc2156a-4192-4fe6-8372-bcf947567e0f" providerId="ADAL" clId="{29604A7C-77EF-4D8C-A274-1EAA9DB0101B}" dt="2021-06-14T06:03:14.200" v="8106" actId="21"/>
          <ac:graphicFrameMkLst>
            <pc:docMk/>
            <pc:sldMk cId="1251254875" sldId="3558"/>
            <ac:graphicFrameMk id="9" creationId="{16062E80-40D0-495F-BE29-66F577B715C7}"/>
          </ac:graphicFrameMkLst>
        </pc:graphicFrameChg>
        <pc:cxnChg chg="add mod">
          <ac:chgData name="Annette Ysland Ludvigsen" userId="5cc2156a-4192-4fe6-8372-bcf947567e0f" providerId="ADAL" clId="{29604A7C-77EF-4D8C-A274-1EAA9DB0101B}" dt="2021-06-11T05:52:57.335" v="6100" actId="571"/>
          <ac:cxnSpMkLst>
            <pc:docMk/>
            <pc:sldMk cId="1251254875" sldId="3558"/>
            <ac:cxnSpMk id="35" creationId="{7CEDB4BD-9973-488B-8A9B-F2A6C35FA100}"/>
          </ac:cxnSpMkLst>
        </pc:cxnChg>
        <pc:cxnChg chg="del mod">
          <ac:chgData name="Annette Ysland Ludvigsen" userId="5cc2156a-4192-4fe6-8372-bcf947567e0f" providerId="ADAL" clId="{29604A7C-77EF-4D8C-A274-1EAA9DB0101B}" dt="2021-06-10T20:32:29.881" v="5148" actId="478"/>
          <ac:cxnSpMkLst>
            <pc:docMk/>
            <pc:sldMk cId="1251254875" sldId="3558"/>
            <ac:cxnSpMk id="47" creationId="{CD562411-9C1A-4E5D-8033-26AE655814E4}"/>
          </ac:cxnSpMkLst>
        </pc:cxnChg>
        <pc:cxnChg chg="mod">
          <ac:chgData name="Annette Ysland Ludvigsen" userId="5cc2156a-4192-4fe6-8372-bcf947567e0f" providerId="ADAL" clId="{29604A7C-77EF-4D8C-A274-1EAA9DB0101B}" dt="2021-06-10T20:32:38.786" v="5150" actId="1076"/>
          <ac:cxnSpMkLst>
            <pc:docMk/>
            <pc:sldMk cId="1251254875" sldId="3558"/>
            <ac:cxnSpMk id="49" creationId="{58B9CBA8-E236-482E-B919-9E6EDF8C694F}"/>
          </ac:cxnSpMkLst>
        </pc:cxnChg>
        <pc:cxnChg chg="del mod">
          <ac:chgData name="Annette Ysland Ludvigsen" userId="5cc2156a-4192-4fe6-8372-bcf947567e0f" providerId="ADAL" clId="{29604A7C-77EF-4D8C-A274-1EAA9DB0101B}" dt="2021-06-10T20:32:28.491" v="5147" actId="478"/>
          <ac:cxnSpMkLst>
            <pc:docMk/>
            <pc:sldMk cId="1251254875" sldId="3558"/>
            <ac:cxnSpMk id="51" creationId="{06BBBA9C-905E-4AF8-813C-2AF5BE3C7DD4}"/>
          </ac:cxnSpMkLst>
        </pc:cxnChg>
        <pc:cxnChg chg="mod">
          <ac:chgData name="Annette Ysland Ludvigsen" userId="5cc2156a-4192-4fe6-8372-bcf947567e0f" providerId="ADAL" clId="{29604A7C-77EF-4D8C-A274-1EAA9DB0101B}" dt="2021-06-11T06:29:03.269" v="6595" actId="1076"/>
          <ac:cxnSpMkLst>
            <pc:docMk/>
            <pc:sldMk cId="1251254875" sldId="3558"/>
            <ac:cxnSpMk id="61" creationId="{90BAFC37-38B0-45DD-8EA6-5B2452899701}"/>
          </ac:cxnSpMkLst>
        </pc:cxnChg>
        <pc:cxnChg chg="mod">
          <ac:chgData name="Annette Ysland Ludvigsen" userId="5cc2156a-4192-4fe6-8372-bcf947567e0f" providerId="ADAL" clId="{29604A7C-77EF-4D8C-A274-1EAA9DB0101B}" dt="2021-06-10T20:32:41.203" v="5151" actId="1076"/>
          <ac:cxnSpMkLst>
            <pc:docMk/>
            <pc:sldMk cId="1251254875" sldId="3558"/>
            <ac:cxnSpMk id="63" creationId="{595A86D8-C3DB-4A25-BE9A-E43922219551}"/>
          </ac:cxnSpMkLst>
        </pc:cxnChg>
        <pc:cxnChg chg="del mod">
          <ac:chgData name="Annette Ysland Ludvigsen" userId="5cc2156a-4192-4fe6-8372-bcf947567e0f" providerId="ADAL" clId="{29604A7C-77EF-4D8C-A274-1EAA9DB0101B}" dt="2021-06-10T20:32:26.860" v="5146" actId="478"/>
          <ac:cxnSpMkLst>
            <pc:docMk/>
            <pc:sldMk cId="1251254875" sldId="3558"/>
            <ac:cxnSpMk id="65" creationId="{A777DC3E-8511-452C-B92E-51DBBC1F551F}"/>
          </ac:cxnSpMkLst>
        </pc:cxnChg>
        <pc:cxnChg chg="del mod">
          <ac:chgData name="Annette Ysland Ludvigsen" userId="5cc2156a-4192-4fe6-8372-bcf947567e0f" providerId="ADAL" clId="{29604A7C-77EF-4D8C-A274-1EAA9DB0101B}" dt="2021-06-10T20:32:25.184" v="5145" actId="478"/>
          <ac:cxnSpMkLst>
            <pc:docMk/>
            <pc:sldMk cId="1251254875" sldId="3558"/>
            <ac:cxnSpMk id="67" creationId="{25FD0EB0-A97B-458E-9A94-A482BB022248}"/>
          </ac:cxnSpMkLst>
        </pc:cxnChg>
        <pc:cxnChg chg="mod">
          <ac:chgData name="Annette Ysland Ludvigsen" userId="5cc2156a-4192-4fe6-8372-bcf947567e0f" providerId="ADAL" clId="{29604A7C-77EF-4D8C-A274-1EAA9DB0101B}" dt="2021-06-10T20:32:35.507" v="5149" actId="1076"/>
          <ac:cxnSpMkLst>
            <pc:docMk/>
            <pc:sldMk cId="1251254875" sldId="3558"/>
            <ac:cxnSpMk id="69" creationId="{101ABB93-37DA-498C-A040-BA7B5DB31FE8}"/>
          </ac:cxnSpMkLst>
        </pc:cxnChg>
        <pc:cxnChg chg="mod">
          <ac:chgData name="Annette Ysland Ludvigsen" userId="5cc2156a-4192-4fe6-8372-bcf947567e0f" providerId="ADAL" clId="{29604A7C-77EF-4D8C-A274-1EAA9DB0101B}" dt="2021-06-10T20:32:53.958" v="5161" actId="20577"/>
          <ac:cxnSpMkLst>
            <pc:docMk/>
            <pc:sldMk cId="1251254875" sldId="3558"/>
            <ac:cxnSpMk id="93" creationId="{4BB188C5-686F-4B36-AE19-E587ED201530}"/>
          </ac:cxnSpMkLst>
        </pc:cxnChg>
      </pc:sldChg>
      <pc:sldChg chg="addSp delSp modSp add mod ord setBg delDesignElem">
        <pc:chgData name="Annette Ysland Ludvigsen" userId="5cc2156a-4192-4fe6-8372-bcf947567e0f" providerId="ADAL" clId="{29604A7C-77EF-4D8C-A274-1EAA9DB0101B}" dt="2021-06-11T05:32:01.183" v="5555" actId="20577"/>
        <pc:sldMkLst>
          <pc:docMk/>
          <pc:sldMk cId="1168625301" sldId="3559"/>
        </pc:sldMkLst>
        <pc:spChg chg="mod">
          <ac:chgData name="Annette Ysland Ludvigsen" userId="5cc2156a-4192-4fe6-8372-bcf947567e0f" providerId="ADAL" clId="{29604A7C-77EF-4D8C-A274-1EAA9DB0101B}" dt="2021-06-11T05:31:50.022" v="5536" actId="20577"/>
          <ac:spMkLst>
            <pc:docMk/>
            <pc:sldMk cId="1168625301" sldId="3559"/>
            <ac:spMk id="2" creationId="{832FD9DD-E09D-4A7F-B5A8-E3B6C4DCB772}"/>
          </ac:spMkLst>
        </pc:spChg>
        <pc:spChg chg="mod">
          <ac:chgData name="Annette Ysland Ludvigsen" userId="5cc2156a-4192-4fe6-8372-bcf947567e0f" providerId="ADAL" clId="{29604A7C-77EF-4D8C-A274-1EAA9DB0101B}" dt="2021-06-11T05:32:01.183" v="5555" actId="20577"/>
          <ac:spMkLst>
            <pc:docMk/>
            <pc:sldMk cId="1168625301" sldId="3559"/>
            <ac:spMk id="3" creationId="{1C7A9D0E-D8CD-4ADB-AE1E-26621D57CE32}"/>
          </ac:spMkLst>
        </pc:spChg>
        <pc:spChg chg="add">
          <ac:chgData name="Annette Ysland Ludvigsen" userId="5cc2156a-4192-4fe6-8372-bcf947567e0f" providerId="ADAL" clId="{29604A7C-77EF-4D8C-A274-1EAA9DB0101B}" dt="2021-06-11T05:31:40.702" v="5511" actId="26606"/>
          <ac:spMkLst>
            <pc:docMk/>
            <pc:sldMk cId="1168625301" sldId="3559"/>
            <ac:spMk id="5" creationId="{C7D023E4-8DE1-436E-9847-ED6A4B4B04FD}"/>
          </ac:spMkLst>
        </pc:spChg>
        <pc:spChg chg="add">
          <ac:chgData name="Annette Ysland Ludvigsen" userId="5cc2156a-4192-4fe6-8372-bcf947567e0f" providerId="ADAL" clId="{29604A7C-77EF-4D8C-A274-1EAA9DB0101B}" dt="2021-06-11T05:31:40.702" v="5511" actId="26606"/>
          <ac:spMkLst>
            <pc:docMk/>
            <pc:sldMk cId="1168625301" sldId="3559"/>
            <ac:spMk id="6" creationId="{6BE11944-ED05-4FE9-9927-06C110BB3A36}"/>
          </ac:spMkLst>
        </pc:spChg>
        <pc:spChg chg="del">
          <ac:chgData name="Annette Ysland Ludvigsen" userId="5cc2156a-4192-4fe6-8372-bcf947567e0f" providerId="ADAL" clId="{29604A7C-77EF-4D8C-A274-1EAA9DB0101B}" dt="2021-06-11T05:31:30.772" v="5508"/>
          <ac:spMkLst>
            <pc:docMk/>
            <pc:sldMk cId="1168625301" sldId="3559"/>
            <ac:spMk id="8" creationId="{C7D023E4-8DE1-436E-9847-ED6A4B4B04FD}"/>
          </ac:spMkLst>
        </pc:spChg>
        <pc:spChg chg="del">
          <ac:chgData name="Annette Ysland Ludvigsen" userId="5cc2156a-4192-4fe6-8372-bcf947567e0f" providerId="ADAL" clId="{29604A7C-77EF-4D8C-A274-1EAA9DB0101B}" dt="2021-06-11T05:31:30.772" v="5508"/>
          <ac:spMkLst>
            <pc:docMk/>
            <pc:sldMk cId="1168625301" sldId="3559"/>
            <ac:spMk id="10" creationId="{6BE11944-ED05-4FE9-9927-06C110BB3A36}"/>
          </ac:spMkLst>
        </pc:spChg>
        <pc:grpChg chg="add">
          <ac:chgData name="Annette Ysland Ludvigsen" userId="5cc2156a-4192-4fe6-8372-bcf947567e0f" providerId="ADAL" clId="{29604A7C-77EF-4D8C-A274-1EAA9DB0101B}" dt="2021-06-11T05:31:40.702" v="5511" actId="26606"/>
          <ac:grpSpMkLst>
            <pc:docMk/>
            <pc:sldMk cId="1168625301" sldId="3559"/>
            <ac:grpSpMk id="7" creationId="{A2812508-238C-4BCD-BDD3-25C99C5CA233}"/>
          </ac:grpSpMkLst>
        </pc:grpChg>
        <pc:grpChg chg="add">
          <ac:chgData name="Annette Ysland Ludvigsen" userId="5cc2156a-4192-4fe6-8372-bcf947567e0f" providerId="ADAL" clId="{29604A7C-77EF-4D8C-A274-1EAA9DB0101B}" dt="2021-06-11T05:31:40.702" v="5511" actId="26606"/>
          <ac:grpSpMkLst>
            <pc:docMk/>
            <pc:sldMk cId="1168625301" sldId="3559"/>
            <ac:grpSpMk id="9" creationId="{43F5E015-E085-4624-B431-B42414448684}"/>
          </ac:grpSpMkLst>
        </pc:grpChg>
        <pc:grpChg chg="del">
          <ac:chgData name="Annette Ysland Ludvigsen" userId="5cc2156a-4192-4fe6-8372-bcf947567e0f" providerId="ADAL" clId="{29604A7C-77EF-4D8C-A274-1EAA9DB0101B}" dt="2021-06-11T05:31:30.772" v="5508"/>
          <ac:grpSpMkLst>
            <pc:docMk/>
            <pc:sldMk cId="1168625301" sldId="3559"/>
            <ac:grpSpMk id="12" creationId="{A2812508-238C-4BCD-BDD3-25C99C5CA233}"/>
          </ac:grpSpMkLst>
        </pc:grpChg>
        <pc:grpChg chg="del">
          <ac:chgData name="Annette Ysland Ludvigsen" userId="5cc2156a-4192-4fe6-8372-bcf947567e0f" providerId="ADAL" clId="{29604A7C-77EF-4D8C-A274-1EAA9DB0101B}" dt="2021-06-11T05:31:30.772" v="5508"/>
          <ac:grpSpMkLst>
            <pc:docMk/>
            <pc:sldMk cId="1168625301" sldId="3559"/>
            <ac:grpSpMk id="16" creationId="{43F5E015-E085-4624-B431-B42414448684}"/>
          </ac:grpSpMkLst>
        </pc:grpChg>
      </pc:sldChg>
      <pc:sldChg chg="addSp modSp new mod setBg">
        <pc:chgData name="Annette Ysland Ludvigsen" userId="5cc2156a-4192-4fe6-8372-bcf947567e0f" providerId="ADAL" clId="{29604A7C-77EF-4D8C-A274-1EAA9DB0101B}" dt="2021-06-14T12:40:06.263" v="8601" actId="5793"/>
        <pc:sldMkLst>
          <pc:docMk/>
          <pc:sldMk cId="16122731" sldId="3560"/>
        </pc:sldMkLst>
        <pc:spChg chg="mod">
          <ac:chgData name="Annette Ysland Ludvigsen" userId="5cc2156a-4192-4fe6-8372-bcf947567e0f" providerId="ADAL" clId="{29604A7C-77EF-4D8C-A274-1EAA9DB0101B}" dt="2021-06-11T05:50:21.937" v="6074" actId="122"/>
          <ac:spMkLst>
            <pc:docMk/>
            <pc:sldMk cId="16122731" sldId="3560"/>
            <ac:spMk id="2" creationId="{C1E35B42-93BA-4A6D-8A49-EA308A21FC5D}"/>
          </ac:spMkLst>
        </pc:spChg>
        <pc:spChg chg="mod">
          <ac:chgData name="Annette Ysland Ludvigsen" userId="5cc2156a-4192-4fe6-8372-bcf947567e0f" providerId="ADAL" clId="{29604A7C-77EF-4D8C-A274-1EAA9DB0101B}" dt="2021-06-14T12:40:06.263" v="8601" actId="5793"/>
          <ac:spMkLst>
            <pc:docMk/>
            <pc:sldMk cId="16122731" sldId="3560"/>
            <ac:spMk id="3" creationId="{9934DC0F-E05D-4CD5-A913-1046B2D2EAEE}"/>
          </ac:spMkLst>
        </pc:spChg>
        <pc:spChg chg="add">
          <ac:chgData name="Annette Ysland Ludvigsen" userId="5cc2156a-4192-4fe6-8372-bcf947567e0f" providerId="ADAL" clId="{29604A7C-77EF-4D8C-A274-1EAA9DB0101B}" dt="2021-06-11T05:50:18.932" v="6073" actId="26606"/>
          <ac:spMkLst>
            <pc:docMk/>
            <pc:sldMk cId="16122731" sldId="3560"/>
            <ac:spMk id="8" creationId="{44D65982-4F00-4330-8DAA-DE6A9E4D6D23}"/>
          </ac:spMkLst>
        </pc:spChg>
        <pc:spChg chg="add">
          <ac:chgData name="Annette Ysland Ludvigsen" userId="5cc2156a-4192-4fe6-8372-bcf947567e0f" providerId="ADAL" clId="{29604A7C-77EF-4D8C-A274-1EAA9DB0101B}" dt="2021-06-11T05:50:18.932" v="6073" actId="26606"/>
          <ac:spMkLst>
            <pc:docMk/>
            <pc:sldMk cId="16122731" sldId="3560"/>
            <ac:spMk id="10" creationId="{009115B9-5BFD-478D-9C87-29ADB3AF1721}"/>
          </ac:spMkLst>
        </pc:spChg>
        <pc:grpChg chg="add">
          <ac:chgData name="Annette Ysland Ludvigsen" userId="5cc2156a-4192-4fe6-8372-bcf947567e0f" providerId="ADAL" clId="{29604A7C-77EF-4D8C-A274-1EAA9DB0101B}" dt="2021-06-11T05:50:18.932" v="6073" actId="26606"/>
          <ac:grpSpMkLst>
            <pc:docMk/>
            <pc:sldMk cId="16122731" sldId="3560"/>
            <ac:grpSpMk id="12" creationId="{8D57F946-2E03-4DE1-91F8-25BEDC663563}"/>
          </ac:grpSpMkLst>
        </pc:grpChg>
        <pc:grpChg chg="add">
          <ac:chgData name="Annette Ysland Ludvigsen" userId="5cc2156a-4192-4fe6-8372-bcf947567e0f" providerId="ADAL" clId="{29604A7C-77EF-4D8C-A274-1EAA9DB0101B}" dt="2021-06-11T05:50:18.932" v="6073" actId="26606"/>
          <ac:grpSpMkLst>
            <pc:docMk/>
            <pc:sldMk cId="16122731" sldId="3560"/>
            <ac:grpSpMk id="16" creationId="{43F5E015-E085-4624-B431-B42414448684}"/>
          </ac:grpSpMkLst>
        </pc:grpChg>
      </pc:sldChg>
      <pc:sldChg chg="addSp delSp modSp new mod setBg">
        <pc:chgData name="Annette Ysland Ludvigsen" userId="5cc2156a-4192-4fe6-8372-bcf947567e0f" providerId="ADAL" clId="{29604A7C-77EF-4D8C-A274-1EAA9DB0101B}" dt="2021-06-11T06:10:34.137" v="6542" actId="122"/>
        <pc:sldMkLst>
          <pc:docMk/>
          <pc:sldMk cId="992379469" sldId="3561"/>
        </pc:sldMkLst>
        <pc:spChg chg="mod">
          <ac:chgData name="Annette Ysland Ludvigsen" userId="5cc2156a-4192-4fe6-8372-bcf947567e0f" providerId="ADAL" clId="{29604A7C-77EF-4D8C-A274-1EAA9DB0101B}" dt="2021-06-11T06:10:34.137" v="6542" actId="122"/>
          <ac:spMkLst>
            <pc:docMk/>
            <pc:sldMk cId="992379469" sldId="3561"/>
            <ac:spMk id="2" creationId="{F10A4442-2982-412C-938C-3A3874B98028}"/>
          </ac:spMkLst>
        </pc:spChg>
        <pc:spChg chg="mod">
          <ac:chgData name="Annette Ysland Ludvigsen" userId="5cc2156a-4192-4fe6-8372-bcf947567e0f" providerId="ADAL" clId="{29604A7C-77EF-4D8C-A274-1EAA9DB0101B}" dt="2021-06-11T06:10:31.285" v="6541" actId="26606"/>
          <ac:spMkLst>
            <pc:docMk/>
            <pc:sldMk cId="992379469" sldId="3561"/>
            <ac:spMk id="3" creationId="{4AF29247-4B8A-4D90-AA6C-EF618AF0B5E8}"/>
          </ac:spMkLst>
        </pc:spChg>
        <pc:spChg chg="add del">
          <ac:chgData name="Annette Ysland Ludvigsen" userId="5cc2156a-4192-4fe6-8372-bcf947567e0f" providerId="ADAL" clId="{29604A7C-77EF-4D8C-A274-1EAA9DB0101B}" dt="2021-06-11T06:10:31.214" v="6540" actId="26606"/>
          <ac:spMkLst>
            <pc:docMk/>
            <pc:sldMk cId="992379469" sldId="3561"/>
            <ac:spMk id="8" creationId="{815925C2-A704-4D47-B1C1-3FCA52512EC1}"/>
          </ac:spMkLst>
        </pc:spChg>
        <pc:spChg chg="add del">
          <ac:chgData name="Annette Ysland Ludvigsen" userId="5cc2156a-4192-4fe6-8372-bcf947567e0f" providerId="ADAL" clId="{29604A7C-77EF-4D8C-A274-1EAA9DB0101B}" dt="2021-06-11T06:10:31.214" v="6540" actId="26606"/>
          <ac:spMkLst>
            <pc:docMk/>
            <pc:sldMk cId="992379469" sldId="3561"/>
            <ac:spMk id="10" creationId="{01D4315C-C23C-4FD3-98DF-08C29E2292A8}"/>
          </ac:spMkLst>
        </pc:spChg>
        <pc:spChg chg="add">
          <ac:chgData name="Annette Ysland Ludvigsen" userId="5cc2156a-4192-4fe6-8372-bcf947567e0f" providerId="ADAL" clId="{29604A7C-77EF-4D8C-A274-1EAA9DB0101B}" dt="2021-06-11T06:10:31.285" v="6541" actId="26606"/>
          <ac:spMkLst>
            <pc:docMk/>
            <pc:sldMk cId="992379469" sldId="3561"/>
            <ac:spMk id="25" creationId="{44D65982-4F00-4330-8DAA-DE6A9E4D6D23}"/>
          </ac:spMkLst>
        </pc:spChg>
        <pc:spChg chg="add">
          <ac:chgData name="Annette Ysland Ludvigsen" userId="5cc2156a-4192-4fe6-8372-bcf947567e0f" providerId="ADAL" clId="{29604A7C-77EF-4D8C-A274-1EAA9DB0101B}" dt="2021-06-11T06:10:31.285" v="6541" actId="26606"/>
          <ac:spMkLst>
            <pc:docMk/>
            <pc:sldMk cId="992379469" sldId="3561"/>
            <ac:spMk id="26" creationId="{009115B9-5BFD-478D-9C87-29ADB3AF1721}"/>
          </ac:spMkLst>
        </pc:spChg>
        <pc:grpChg chg="add del">
          <ac:chgData name="Annette Ysland Ludvigsen" userId="5cc2156a-4192-4fe6-8372-bcf947567e0f" providerId="ADAL" clId="{29604A7C-77EF-4D8C-A274-1EAA9DB0101B}" dt="2021-06-11T06:10:31.214" v="6540" actId="26606"/>
          <ac:grpSpMkLst>
            <pc:docMk/>
            <pc:sldMk cId="992379469" sldId="3561"/>
            <ac:grpSpMk id="12" creationId="{5E6B47BC-43FD-4C91-8BFF-B41B99A8A39E}"/>
          </ac:grpSpMkLst>
        </pc:grpChg>
        <pc:grpChg chg="add del">
          <ac:chgData name="Annette Ysland Ludvigsen" userId="5cc2156a-4192-4fe6-8372-bcf947567e0f" providerId="ADAL" clId="{29604A7C-77EF-4D8C-A274-1EAA9DB0101B}" dt="2021-06-11T06:10:31.214" v="6540" actId="26606"/>
          <ac:grpSpMkLst>
            <pc:docMk/>
            <pc:sldMk cId="992379469" sldId="3561"/>
            <ac:grpSpMk id="16" creationId="{43F5E015-E085-4624-B431-B42414448684}"/>
          </ac:grpSpMkLst>
        </pc:grpChg>
        <pc:grpChg chg="add">
          <ac:chgData name="Annette Ysland Ludvigsen" userId="5cc2156a-4192-4fe6-8372-bcf947567e0f" providerId="ADAL" clId="{29604A7C-77EF-4D8C-A274-1EAA9DB0101B}" dt="2021-06-11T06:10:31.285" v="6541" actId="26606"/>
          <ac:grpSpMkLst>
            <pc:docMk/>
            <pc:sldMk cId="992379469" sldId="3561"/>
            <ac:grpSpMk id="27" creationId="{8D57F946-2E03-4DE1-91F8-25BEDC663563}"/>
          </ac:grpSpMkLst>
        </pc:grpChg>
        <pc:grpChg chg="add">
          <ac:chgData name="Annette Ysland Ludvigsen" userId="5cc2156a-4192-4fe6-8372-bcf947567e0f" providerId="ADAL" clId="{29604A7C-77EF-4D8C-A274-1EAA9DB0101B}" dt="2021-06-11T06:10:31.285" v="6541" actId="26606"/>
          <ac:grpSpMkLst>
            <pc:docMk/>
            <pc:sldMk cId="992379469" sldId="3561"/>
            <ac:grpSpMk id="30" creationId="{43F5E015-E085-4624-B431-B42414448684}"/>
          </ac:grpSpMkLst>
        </pc:grpChg>
      </pc:sldChg>
      <pc:sldChg chg="addSp delSp modSp new del mod">
        <pc:chgData name="Annette Ysland Ludvigsen" userId="5cc2156a-4192-4fe6-8372-bcf947567e0f" providerId="ADAL" clId="{29604A7C-77EF-4D8C-A274-1EAA9DB0101B}" dt="2021-06-14T13:43:16.761" v="11882" actId="47"/>
        <pc:sldMkLst>
          <pc:docMk/>
          <pc:sldMk cId="254742379" sldId="3562"/>
        </pc:sldMkLst>
        <pc:spChg chg="mod">
          <ac:chgData name="Annette Ysland Ludvigsen" userId="5cc2156a-4192-4fe6-8372-bcf947567e0f" providerId="ADAL" clId="{29604A7C-77EF-4D8C-A274-1EAA9DB0101B}" dt="2021-06-14T13:02:08.599" v="10076" actId="1076"/>
          <ac:spMkLst>
            <pc:docMk/>
            <pc:sldMk cId="254742379" sldId="3562"/>
            <ac:spMk id="2" creationId="{66491E10-C6DE-4D85-A4BC-AC051EF080D8}"/>
          </ac:spMkLst>
        </pc:spChg>
        <pc:spChg chg="add del mod">
          <ac:chgData name="Annette Ysland Ludvigsen" userId="5cc2156a-4192-4fe6-8372-bcf947567e0f" providerId="ADAL" clId="{29604A7C-77EF-4D8C-A274-1EAA9DB0101B}" dt="2021-06-14T12:48:50.374" v="9324" actId="478"/>
          <ac:spMkLst>
            <pc:docMk/>
            <pc:sldMk cId="254742379" sldId="3562"/>
            <ac:spMk id="5" creationId="{AAAFA959-E69F-4187-BB5E-344D8C592B92}"/>
          </ac:spMkLst>
        </pc:spChg>
        <pc:spChg chg="add del mod">
          <ac:chgData name="Annette Ysland Ludvigsen" userId="5cc2156a-4192-4fe6-8372-bcf947567e0f" providerId="ADAL" clId="{29604A7C-77EF-4D8C-A274-1EAA9DB0101B}" dt="2021-06-14T12:48:49.814" v="9323" actId="478"/>
          <ac:spMkLst>
            <pc:docMk/>
            <pc:sldMk cId="254742379" sldId="3562"/>
            <ac:spMk id="6" creationId="{34C4AE5D-788E-4D10-92CB-1BFD657529B1}"/>
          </ac:spMkLst>
        </pc:spChg>
        <pc:spChg chg="add del mod">
          <ac:chgData name="Annette Ysland Ludvigsen" userId="5cc2156a-4192-4fe6-8372-bcf947567e0f" providerId="ADAL" clId="{29604A7C-77EF-4D8C-A274-1EAA9DB0101B}" dt="2021-06-14T12:48:49.224" v="9322" actId="478"/>
          <ac:spMkLst>
            <pc:docMk/>
            <pc:sldMk cId="254742379" sldId="3562"/>
            <ac:spMk id="7" creationId="{A94B3421-ED30-4F89-80B7-DAD324472130}"/>
          </ac:spMkLst>
        </pc:spChg>
        <pc:spChg chg="add mod">
          <ac:chgData name="Annette Ysland Ludvigsen" userId="5cc2156a-4192-4fe6-8372-bcf947567e0f" providerId="ADAL" clId="{29604A7C-77EF-4D8C-A274-1EAA9DB0101B}" dt="2021-06-14T12:49:41.754" v="9347" actId="1076"/>
          <ac:spMkLst>
            <pc:docMk/>
            <pc:sldMk cId="254742379" sldId="3562"/>
            <ac:spMk id="8" creationId="{9CC81940-AE30-4668-A9A0-7D522EEB6AFB}"/>
          </ac:spMkLst>
        </pc:spChg>
        <pc:spChg chg="add mod">
          <ac:chgData name="Annette Ysland Ludvigsen" userId="5cc2156a-4192-4fe6-8372-bcf947567e0f" providerId="ADAL" clId="{29604A7C-77EF-4D8C-A274-1EAA9DB0101B}" dt="2021-06-14T12:57:36.925" v="9951" actId="1076"/>
          <ac:spMkLst>
            <pc:docMk/>
            <pc:sldMk cId="254742379" sldId="3562"/>
            <ac:spMk id="9" creationId="{695B0962-BC36-4737-A3E7-ACA8232DC92F}"/>
          </ac:spMkLst>
        </pc:spChg>
        <pc:spChg chg="add mod">
          <ac:chgData name="Annette Ysland Ludvigsen" userId="5cc2156a-4192-4fe6-8372-bcf947567e0f" providerId="ADAL" clId="{29604A7C-77EF-4D8C-A274-1EAA9DB0101B}" dt="2021-06-14T12:49:36.924" v="9345" actId="1076"/>
          <ac:spMkLst>
            <pc:docMk/>
            <pc:sldMk cId="254742379" sldId="3562"/>
            <ac:spMk id="10" creationId="{A630B9E1-6788-46ED-A662-5E0D3566509D}"/>
          </ac:spMkLst>
        </pc:spChg>
        <pc:spChg chg="add mod">
          <ac:chgData name="Annette Ysland Ludvigsen" userId="5cc2156a-4192-4fe6-8372-bcf947567e0f" providerId="ADAL" clId="{29604A7C-77EF-4D8C-A274-1EAA9DB0101B}" dt="2021-06-14T12:49:34.854" v="9344" actId="1076"/>
          <ac:spMkLst>
            <pc:docMk/>
            <pc:sldMk cId="254742379" sldId="3562"/>
            <ac:spMk id="11" creationId="{B6E2E556-9337-4419-91A1-D54D156AE023}"/>
          </ac:spMkLst>
        </pc:spChg>
        <pc:spChg chg="add mod">
          <ac:chgData name="Annette Ysland Ludvigsen" userId="5cc2156a-4192-4fe6-8372-bcf947567e0f" providerId="ADAL" clId="{29604A7C-77EF-4D8C-A274-1EAA9DB0101B}" dt="2021-06-14T12:50:26.389" v="9366" actId="1076"/>
          <ac:spMkLst>
            <pc:docMk/>
            <pc:sldMk cId="254742379" sldId="3562"/>
            <ac:spMk id="12" creationId="{9EEEA449-EF90-41DB-AAA1-71B83503D0AA}"/>
          </ac:spMkLst>
        </pc:spChg>
        <pc:spChg chg="add mod">
          <ac:chgData name="Annette Ysland Ludvigsen" userId="5cc2156a-4192-4fe6-8372-bcf947567e0f" providerId="ADAL" clId="{29604A7C-77EF-4D8C-A274-1EAA9DB0101B}" dt="2021-06-14T12:50:43.444" v="9400" actId="1076"/>
          <ac:spMkLst>
            <pc:docMk/>
            <pc:sldMk cId="254742379" sldId="3562"/>
            <ac:spMk id="13" creationId="{1FBA5DFD-6801-4C7B-B1CA-79F7FC4B44A0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4" creationId="{6914E349-A5CB-480A-A085-55DF416F20F3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5" creationId="{E9331284-751D-47AA-A377-FA2F0C922E1F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6" creationId="{6070946A-FE98-48EF-9934-D0567AEFA461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7" creationId="{118360D7-4002-4866-9C75-C020778E3313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8" creationId="{6F56D537-2421-4EA2-9552-EAB80F70FE11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19" creationId="{FE363707-F209-4D9D-8C8E-D86A90759FE7}"/>
          </ac:spMkLst>
        </pc:spChg>
        <pc:spChg chg="add mod">
          <ac:chgData name="Annette Ysland Ludvigsen" userId="5cc2156a-4192-4fe6-8372-bcf947567e0f" providerId="ADAL" clId="{29604A7C-77EF-4D8C-A274-1EAA9DB0101B}" dt="2021-06-14T12:55:13.024" v="9671" actId="1076"/>
          <ac:spMkLst>
            <pc:docMk/>
            <pc:sldMk cId="254742379" sldId="3562"/>
            <ac:spMk id="20" creationId="{1E06D953-A02D-49EB-8D4A-607D0D92C426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1" creationId="{45B705DD-A643-482C-B5B4-B35F2CB48D20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2" creationId="{3712696C-1B99-4CE6-BEA3-C90796E7A3FC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3" creationId="{9F8DA595-7216-4F7C-9216-AD0E870512C5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4" creationId="{69DCF3FF-B97A-445B-A8D5-B905DA6660BD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5" creationId="{AF0D4754-AB5A-410E-85E4-0933F764A8DD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6" creationId="{6327C0F6-75BE-4778-8F12-2200EAEA3AEE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7" creationId="{8D15DCC0-D04B-4BD0-AE0B-71BAC77741B1}"/>
          </ac:spMkLst>
        </pc:spChg>
        <pc:spChg chg="add mod">
          <ac:chgData name="Annette Ysland Ludvigsen" userId="5cc2156a-4192-4fe6-8372-bcf947567e0f" providerId="ADAL" clId="{29604A7C-77EF-4D8C-A274-1EAA9DB0101B}" dt="2021-06-14T12:59:04.375" v="9976" actId="1076"/>
          <ac:spMkLst>
            <pc:docMk/>
            <pc:sldMk cId="254742379" sldId="3562"/>
            <ac:spMk id="28" creationId="{22AD6308-5498-4E48-BB0B-5066FE482164}"/>
          </ac:spMkLst>
        </pc:spChg>
        <pc:spChg chg="add mod">
          <ac:chgData name="Annette Ysland Ludvigsen" userId="5cc2156a-4192-4fe6-8372-bcf947567e0f" providerId="ADAL" clId="{29604A7C-77EF-4D8C-A274-1EAA9DB0101B}" dt="2021-06-14T12:58:33.173" v="9973" actId="207"/>
          <ac:spMkLst>
            <pc:docMk/>
            <pc:sldMk cId="254742379" sldId="3562"/>
            <ac:spMk id="29" creationId="{315180D2-AB24-4C61-95F0-C8C0B77C6ED4}"/>
          </ac:spMkLst>
        </pc:spChg>
        <pc:spChg chg="add mod">
          <ac:chgData name="Annette Ysland Ludvigsen" userId="5cc2156a-4192-4fe6-8372-bcf947567e0f" providerId="ADAL" clId="{29604A7C-77EF-4D8C-A274-1EAA9DB0101B}" dt="2021-06-14T13:06:22.815" v="10128" actId="20577"/>
          <ac:spMkLst>
            <pc:docMk/>
            <pc:sldMk cId="254742379" sldId="3562"/>
            <ac:spMk id="30" creationId="{426DA86C-98B4-42AA-9237-862D0477F505}"/>
          </ac:spMkLst>
        </pc:spChg>
        <pc:spChg chg="add mod">
          <ac:chgData name="Annette Ysland Ludvigsen" userId="5cc2156a-4192-4fe6-8372-bcf947567e0f" providerId="ADAL" clId="{29604A7C-77EF-4D8C-A274-1EAA9DB0101B}" dt="2021-06-14T13:06:29.262" v="10141" actId="20577"/>
          <ac:spMkLst>
            <pc:docMk/>
            <pc:sldMk cId="254742379" sldId="3562"/>
            <ac:spMk id="31" creationId="{269FF122-00A4-47D1-8183-EB9AF36D9C66}"/>
          </ac:spMkLst>
        </pc:spChg>
        <pc:spChg chg="add mod">
          <ac:chgData name="Annette Ysland Ludvigsen" userId="5cc2156a-4192-4fe6-8372-bcf947567e0f" providerId="ADAL" clId="{29604A7C-77EF-4D8C-A274-1EAA9DB0101B}" dt="2021-06-14T13:06:33.841" v="10154" actId="20577"/>
          <ac:spMkLst>
            <pc:docMk/>
            <pc:sldMk cId="254742379" sldId="3562"/>
            <ac:spMk id="32" creationId="{228A3DD0-531B-433F-B0A4-A2B5FABE1DF0}"/>
          </ac:spMkLst>
        </pc:spChg>
        <pc:spChg chg="add mod">
          <ac:chgData name="Annette Ysland Ludvigsen" userId="5cc2156a-4192-4fe6-8372-bcf947567e0f" providerId="ADAL" clId="{29604A7C-77EF-4D8C-A274-1EAA9DB0101B}" dt="2021-06-14T13:07:56.885" v="10176" actId="20577"/>
          <ac:spMkLst>
            <pc:docMk/>
            <pc:sldMk cId="254742379" sldId="3562"/>
            <ac:spMk id="33" creationId="{6CF819FB-9D77-44A0-894E-68015CDDEA7F}"/>
          </ac:spMkLst>
        </pc:spChg>
        <pc:spChg chg="add mod">
          <ac:chgData name="Annette Ysland Ludvigsen" userId="5cc2156a-4192-4fe6-8372-bcf947567e0f" providerId="ADAL" clId="{29604A7C-77EF-4D8C-A274-1EAA9DB0101B}" dt="2021-06-14T13:08:07.706" v="10191" actId="20577"/>
          <ac:spMkLst>
            <pc:docMk/>
            <pc:sldMk cId="254742379" sldId="3562"/>
            <ac:spMk id="101" creationId="{75243108-5FEE-4B32-BE72-09A776E00599}"/>
          </ac:spMkLst>
        </pc:spChg>
        <pc:graphicFrameChg chg="add del mod modGraphic">
          <ac:chgData name="Annette Ysland Ludvigsen" userId="5cc2156a-4192-4fe6-8372-bcf947567e0f" providerId="ADAL" clId="{29604A7C-77EF-4D8C-A274-1EAA9DB0101B}" dt="2021-06-14T13:08:42.074" v="10198" actId="478"/>
          <ac:graphicFrameMkLst>
            <pc:docMk/>
            <pc:sldMk cId="254742379" sldId="3562"/>
            <ac:graphicFrameMk id="3" creationId="{78CFE22A-D961-4970-B333-5A1B17B33CB8}"/>
          </ac:graphicFrameMkLst>
        </pc:graphicFrameChg>
        <pc:graphicFrameChg chg="add del mod">
          <ac:chgData name="Annette Ysland Ludvigsen" userId="5cc2156a-4192-4fe6-8372-bcf947567e0f" providerId="ADAL" clId="{29604A7C-77EF-4D8C-A274-1EAA9DB0101B}" dt="2021-06-14T12:48:08.507" v="9310" actId="478"/>
          <ac:graphicFrameMkLst>
            <pc:docMk/>
            <pc:sldMk cId="254742379" sldId="3562"/>
            <ac:graphicFrameMk id="4" creationId="{916C8BFF-5EA5-460D-A99A-427D1F24869B}"/>
          </ac:graphicFrameMkLst>
        </pc:graphicFrameChg>
        <pc:cxnChg chg="add mod">
          <ac:chgData name="Annette Ysland Ludvigsen" userId="5cc2156a-4192-4fe6-8372-bcf947567e0f" providerId="ADAL" clId="{29604A7C-77EF-4D8C-A274-1EAA9DB0101B}" dt="2021-06-14T13:00:42.044" v="10050" actId="1582"/>
          <ac:cxnSpMkLst>
            <pc:docMk/>
            <pc:sldMk cId="254742379" sldId="3562"/>
            <ac:cxnSpMk id="35" creationId="{5D1E7FBA-2916-4634-AE71-F7E1EAEBF43F}"/>
          </ac:cxnSpMkLst>
        </pc:cxnChg>
        <pc:cxnChg chg="add mod">
          <ac:chgData name="Annette Ysland Ludvigsen" userId="5cc2156a-4192-4fe6-8372-bcf947567e0f" providerId="ADAL" clId="{29604A7C-77EF-4D8C-A274-1EAA9DB0101B}" dt="2021-06-14T13:00:36.117" v="10049" actId="1582"/>
          <ac:cxnSpMkLst>
            <pc:docMk/>
            <pc:sldMk cId="254742379" sldId="3562"/>
            <ac:cxnSpMk id="38" creationId="{AFD6496C-5A92-4AE1-AD8C-16FBB9BD1C5E}"/>
          </ac:cxnSpMkLst>
        </pc:cxnChg>
        <pc:cxnChg chg="add mod">
          <ac:chgData name="Annette Ysland Ludvigsen" userId="5cc2156a-4192-4fe6-8372-bcf947567e0f" providerId="ADAL" clId="{29604A7C-77EF-4D8C-A274-1EAA9DB0101B}" dt="2021-06-14T13:01:23.854" v="10055" actId="14100"/>
          <ac:cxnSpMkLst>
            <pc:docMk/>
            <pc:sldMk cId="254742379" sldId="3562"/>
            <ac:cxnSpMk id="40" creationId="{82F03CBA-58CE-4648-90A9-C422CD5EDD59}"/>
          </ac:cxnSpMkLst>
        </pc:cxnChg>
        <pc:cxnChg chg="add mod">
          <ac:chgData name="Annette Ysland Ludvigsen" userId="5cc2156a-4192-4fe6-8372-bcf947567e0f" providerId="ADAL" clId="{29604A7C-77EF-4D8C-A274-1EAA9DB0101B}" dt="2021-06-14T13:01:31.414" v="10058" actId="14100"/>
          <ac:cxnSpMkLst>
            <pc:docMk/>
            <pc:sldMk cId="254742379" sldId="3562"/>
            <ac:cxnSpMk id="43" creationId="{3663CD86-9064-40AB-8D77-66F4053127D3}"/>
          </ac:cxnSpMkLst>
        </pc:cxnChg>
        <pc:cxnChg chg="add mod">
          <ac:chgData name="Annette Ysland Ludvigsen" userId="5cc2156a-4192-4fe6-8372-bcf947567e0f" providerId="ADAL" clId="{29604A7C-77EF-4D8C-A274-1EAA9DB0101B}" dt="2021-06-14T13:01:36.684" v="10061" actId="14100"/>
          <ac:cxnSpMkLst>
            <pc:docMk/>
            <pc:sldMk cId="254742379" sldId="3562"/>
            <ac:cxnSpMk id="46" creationId="{E43FCCA0-ADAD-47CA-AEA5-8D2BBF72F80B}"/>
          </ac:cxnSpMkLst>
        </pc:cxnChg>
        <pc:cxnChg chg="add mod">
          <ac:chgData name="Annette Ysland Ludvigsen" userId="5cc2156a-4192-4fe6-8372-bcf947567e0f" providerId="ADAL" clId="{29604A7C-77EF-4D8C-A274-1EAA9DB0101B}" dt="2021-06-14T13:01:44.044" v="10065" actId="14100"/>
          <ac:cxnSpMkLst>
            <pc:docMk/>
            <pc:sldMk cId="254742379" sldId="3562"/>
            <ac:cxnSpMk id="49" creationId="{3D361891-5D7E-45DD-AC1A-CED97D9F979A}"/>
          </ac:cxnSpMkLst>
        </pc:cxnChg>
        <pc:cxnChg chg="add mod">
          <ac:chgData name="Annette Ysland Ludvigsen" userId="5cc2156a-4192-4fe6-8372-bcf947567e0f" providerId="ADAL" clId="{29604A7C-77EF-4D8C-A274-1EAA9DB0101B}" dt="2021-06-14T13:01:49.744" v="10068" actId="14100"/>
          <ac:cxnSpMkLst>
            <pc:docMk/>
            <pc:sldMk cId="254742379" sldId="3562"/>
            <ac:cxnSpMk id="53" creationId="{71040B2A-9E00-46AB-ACBB-D4F502176CB0}"/>
          </ac:cxnSpMkLst>
        </pc:cxnChg>
        <pc:cxnChg chg="add mod">
          <ac:chgData name="Annette Ysland Ludvigsen" userId="5cc2156a-4192-4fe6-8372-bcf947567e0f" providerId="ADAL" clId="{29604A7C-77EF-4D8C-A274-1EAA9DB0101B}" dt="2021-06-14T13:01:56.079" v="10071" actId="14100"/>
          <ac:cxnSpMkLst>
            <pc:docMk/>
            <pc:sldMk cId="254742379" sldId="3562"/>
            <ac:cxnSpMk id="56" creationId="{D6FBFD19-D228-407C-AB9C-BB0E08BD916C}"/>
          </ac:cxnSpMkLst>
        </pc:cxnChg>
        <pc:cxnChg chg="add mod">
          <ac:chgData name="Annette Ysland Ludvigsen" userId="5cc2156a-4192-4fe6-8372-bcf947567e0f" providerId="ADAL" clId="{29604A7C-77EF-4D8C-A274-1EAA9DB0101B}" dt="2021-06-14T13:02:02.704" v="10074" actId="14100"/>
          <ac:cxnSpMkLst>
            <pc:docMk/>
            <pc:sldMk cId="254742379" sldId="3562"/>
            <ac:cxnSpMk id="59" creationId="{3CE2A9D3-8728-458B-A994-C4AC36943785}"/>
          </ac:cxnSpMkLst>
        </pc:cxnChg>
        <pc:cxnChg chg="add mod">
          <ac:chgData name="Annette Ysland Ludvigsen" userId="5cc2156a-4192-4fe6-8372-bcf947567e0f" providerId="ADAL" clId="{29604A7C-77EF-4D8C-A274-1EAA9DB0101B}" dt="2021-06-14T13:02:23.454" v="10080" actId="14100"/>
          <ac:cxnSpMkLst>
            <pc:docMk/>
            <pc:sldMk cId="254742379" sldId="3562"/>
            <ac:cxnSpMk id="62" creationId="{C5F3E329-C015-456F-A40A-496F1AE197D1}"/>
          </ac:cxnSpMkLst>
        </pc:cxnChg>
        <pc:cxnChg chg="add mod">
          <ac:chgData name="Annette Ysland Ludvigsen" userId="5cc2156a-4192-4fe6-8372-bcf947567e0f" providerId="ADAL" clId="{29604A7C-77EF-4D8C-A274-1EAA9DB0101B}" dt="2021-06-14T13:02:31.985" v="10083" actId="14100"/>
          <ac:cxnSpMkLst>
            <pc:docMk/>
            <pc:sldMk cId="254742379" sldId="3562"/>
            <ac:cxnSpMk id="66" creationId="{241EF466-25D1-4498-9824-DEDE7F9A2976}"/>
          </ac:cxnSpMkLst>
        </pc:cxnChg>
        <pc:cxnChg chg="add mod">
          <ac:chgData name="Annette Ysland Ludvigsen" userId="5cc2156a-4192-4fe6-8372-bcf947567e0f" providerId="ADAL" clId="{29604A7C-77EF-4D8C-A274-1EAA9DB0101B}" dt="2021-06-14T13:02:38.904" v="10086" actId="14100"/>
          <ac:cxnSpMkLst>
            <pc:docMk/>
            <pc:sldMk cId="254742379" sldId="3562"/>
            <ac:cxnSpMk id="69" creationId="{04EEF422-5BB1-4EF6-8916-BAB3DFF567ED}"/>
          </ac:cxnSpMkLst>
        </pc:cxnChg>
        <pc:cxnChg chg="add mod">
          <ac:chgData name="Annette Ysland Ludvigsen" userId="5cc2156a-4192-4fe6-8372-bcf947567e0f" providerId="ADAL" clId="{29604A7C-77EF-4D8C-A274-1EAA9DB0101B}" dt="2021-06-14T13:02:45.365" v="10089" actId="14100"/>
          <ac:cxnSpMkLst>
            <pc:docMk/>
            <pc:sldMk cId="254742379" sldId="3562"/>
            <ac:cxnSpMk id="72" creationId="{8ADD5798-FD46-4F85-A745-28868CD8A950}"/>
          </ac:cxnSpMkLst>
        </pc:cxnChg>
        <pc:cxnChg chg="add mod">
          <ac:chgData name="Annette Ysland Ludvigsen" userId="5cc2156a-4192-4fe6-8372-bcf947567e0f" providerId="ADAL" clId="{29604A7C-77EF-4D8C-A274-1EAA9DB0101B}" dt="2021-06-14T13:02:51.764" v="10092" actId="14100"/>
          <ac:cxnSpMkLst>
            <pc:docMk/>
            <pc:sldMk cId="254742379" sldId="3562"/>
            <ac:cxnSpMk id="75" creationId="{D953850D-19FE-4A33-B76F-170116C2BD17}"/>
          </ac:cxnSpMkLst>
        </pc:cxnChg>
        <pc:cxnChg chg="add mod">
          <ac:chgData name="Annette Ysland Ludvigsen" userId="5cc2156a-4192-4fe6-8372-bcf947567e0f" providerId="ADAL" clId="{29604A7C-77EF-4D8C-A274-1EAA9DB0101B}" dt="2021-06-14T13:02:57.616" v="10095" actId="14100"/>
          <ac:cxnSpMkLst>
            <pc:docMk/>
            <pc:sldMk cId="254742379" sldId="3562"/>
            <ac:cxnSpMk id="78" creationId="{D4A1017C-6B37-43D2-B9C2-32A93C7FFA29}"/>
          </ac:cxnSpMkLst>
        </pc:cxnChg>
        <pc:cxnChg chg="add mod">
          <ac:chgData name="Annette Ysland Ludvigsen" userId="5cc2156a-4192-4fe6-8372-bcf947567e0f" providerId="ADAL" clId="{29604A7C-77EF-4D8C-A274-1EAA9DB0101B}" dt="2021-06-14T13:03:03.434" v="10098" actId="14100"/>
          <ac:cxnSpMkLst>
            <pc:docMk/>
            <pc:sldMk cId="254742379" sldId="3562"/>
            <ac:cxnSpMk id="81" creationId="{AD5A6409-0915-4E13-A038-8A4E4DFC7113}"/>
          </ac:cxnSpMkLst>
        </pc:cxnChg>
        <pc:cxnChg chg="add mod">
          <ac:chgData name="Annette Ysland Ludvigsen" userId="5cc2156a-4192-4fe6-8372-bcf947567e0f" providerId="ADAL" clId="{29604A7C-77EF-4D8C-A274-1EAA9DB0101B}" dt="2021-06-14T13:03:09.731" v="10101" actId="14100"/>
          <ac:cxnSpMkLst>
            <pc:docMk/>
            <pc:sldMk cId="254742379" sldId="3562"/>
            <ac:cxnSpMk id="84" creationId="{8FBCE0C4-AA80-4475-AE11-3AC92C2871DA}"/>
          </ac:cxnSpMkLst>
        </pc:cxnChg>
        <pc:cxnChg chg="add mod">
          <ac:chgData name="Annette Ysland Ludvigsen" userId="5cc2156a-4192-4fe6-8372-bcf947567e0f" providerId="ADAL" clId="{29604A7C-77EF-4D8C-A274-1EAA9DB0101B}" dt="2021-06-14T13:03:17.474" v="10104" actId="14100"/>
          <ac:cxnSpMkLst>
            <pc:docMk/>
            <pc:sldMk cId="254742379" sldId="3562"/>
            <ac:cxnSpMk id="87" creationId="{02B4ECB3-FCBB-4C18-ACAA-F8E188E4B46E}"/>
          </ac:cxnSpMkLst>
        </pc:cxnChg>
        <pc:cxnChg chg="add mod">
          <ac:chgData name="Annette Ysland Ludvigsen" userId="5cc2156a-4192-4fe6-8372-bcf947567e0f" providerId="ADAL" clId="{29604A7C-77EF-4D8C-A274-1EAA9DB0101B}" dt="2021-06-14T13:03:41.675" v="10114" actId="1076"/>
          <ac:cxnSpMkLst>
            <pc:docMk/>
            <pc:sldMk cId="254742379" sldId="3562"/>
            <ac:cxnSpMk id="90" creationId="{8EAD0122-4D12-4DB4-AA0A-8AC23649E87C}"/>
          </ac:cxnSpMkLst>
        </pc:cxnChg>
        <pc:cxnChg chg="add mod">
          <ac:chgData name="Annette Ysland Ludvigsen" userId="5cc2156a-4192-4fe6-8372-bcf947567e0f" providerId="ADAL" clId="{29604A7C-77EF-4D8C-A274-1EAA9DB0101B}" dt="2021-06-14T13:03:47.075" v="10115" actId="1076"/>
          <ac:cxnSpMkLst>
            <pc:docMk/>
            <pc:sldMk cId="254742379" sldId="3562"/>
            <ac:cxnSpMk id="93" creationId="{4A1F1F59-4CB7-415E-A542-4F9576B00D79}"/>
          </ac:cxnSpMkLst>
        </pc:cxnChg>
        <pc:cxnChg chg="add mod">
          <ac:chgData name="Annette Ysland Ludvigsen" userId="5cc2156a-4192-4fe6-8372-bcf947567e0f" providerId="ADAL" clId="{29604A7C-77EF-4D8C-A274-1EAA9DB0101B}" dt="2021-06-14T13:08:19.694" v="10194" actId="14100"/>
          <ac:cxnSpMkLst>
            <pc:docMk/>
            <pc:sldMk cId="254742379" sldId="3562"/>
            <ac:cxnSpMk id="102" creationId="{2EE697FB-1590-479F-A98E-F753BDD26458}"/>
          </ac:cxnSpMkLst>
        </pc:cxnChg>
        <pc:cxnChg chg="add mod">
          <ac:chgData name="Annette Ysland Ludvigsen" userId="5cc2156a-4192-4fe6-8372-bcf947567e0f" providerId="ADAL" clId="{29604A7C-77EF-4D8C-A274-1EAA9DB0101B}" dt="2021-06-14T13:08:27.047" v="10197" actId="14100"/>
          <ac:cxnSpMkLst>
            <pc:docMk/>
            <pc:sldMk cId="254742379" sldId="3562"/>
            <ac:cxnSpMk id="105" creationId="{4A31F040-7E5D-4297-B8AD-7F96AAAE849B}"/>
          </ac:cxnSpMkLst>
        </pc:cxnChg>
      </pc:sldChg>
      <pc:sldChg chg="addSp delSp modSp add del mod ord delAnim">
        <pc:chgData name="Annette Ysland Ludvigsen" userId="5cc2156a-4192-4fe6-8372-bcf947567e0f" providerId="ADAL" clId="{29604A7C-77EF-4D8C-A274-1EAA9DB0101B}" dt="2021-06-14T05:33:33.131" v="7249" actId="47"/>
        <pc:sldMkLst>
          <pc:docMk/>
          <pc:sldMk cId="1500322373" sldId="3562"/>
        </pc:sldMkLst>
        <pc:spChg chg="del">
          <ac:chgData name="Annette Ysland Ludvigsen" userId="5cc2156a-4192-4fe6-8372-bcf947567e0f" providerId="ADAL" clId="{29604A7C-77EF-4D8C-A274-1EAA9DB0101B}" dt="2021-06-14T05:32:17.378" v="7218" actId="478"/>
          <ac:spMkLst>
            <pc:docMk/>
            <pc:sldMk cId="1500322373" sldId="3562"/>
            <ac:spMk id="15" creationId="{2F08D87D-AA93-4719-8D83-A9CBE55C7217}"/>
          </ac:spMkLst>
        </pc:spChg>
        <pc:spChg chg="del">
          <ac:chgData name="Annette Ysland Ludvigsen" userId="5cc2156a-4192-4fe6-8372-bcf947567e0f" providerId="ADAL" clId="{29604A7C-77EF-4D8C-A274-1EAA9DB0101B}" dt="2021-06-14T05:32:06.502" v="7209" actId="478"/>
          <ac:spMkLst>
            <pc:docMk/>
            <pc:sldMk cId="1500322373" sldId="3562"/>
            <ac:spMk id="26" creationId="{48B1303F-8A51-468B-97A7-04BAE3135D44}"/>
          </ac:spMkLst>
        </pc:spChg>
        <pc:spChg chg="del">
          <ac:chgData name="Annette Ysland Ludvigsen" userId="5cc2156a-4192-4fe6-8372-bcf947567e0f" providerId="ADAL" clId="{29604A7C-77EF-4D8C-A274-1EAA9DB0101B}" dt="2021-06-14T05:32:06.502" v="7209" actId="478"/>
          <ac:spMkLst>
            <pc:docMk/>
            <pc:sldMk cId="1500322373" sldId="3562"/>
            <ac:spMk id="27" creationId="{5B263297-BA60-438D-A269-4FC56BE5E99E}"/>
          </ac:spMkLst>
        </pc:spChg>
        <pc:spChg chg="del">
          <ac:chgData name="Annette Ysland Ludvigsen" userId="5cc2156a-4192-4fe6-8372-bcf947567e0f" providerId="ADAL" clId="{29604A7C-77EF-4D8C-A274-1EAA9DB0101B}" dt="2021-06-14T05:32:06.502" v="7209" actId="478"/>
          <ac:spMkLst>
            <pc:docMk/>
            <pc:sldMk cId="1500322373" sldId="3562"/>
            <ac:spMk id="29" creationId="{04BDF2FE-6D34-47BE-910E-1E8F7A5A9157}"/>
          </ac:spMkLst>
        </pc:spChg>
        <pc:spChg chg="del">
          <ac:chgData name="Annette Ysland Ludvigsen" userId="5cc2156a-4192-4fe6-8372-bcf947567e0f" providerId="ADAL" clId="{29604A7C-77EF-4D8C-A274-1EAA9DB0101B}" dt="2021-06-14T05:32:12.740" v="7214" actId="478"/>
          <ac:spMkLst>
            <pc:docMk/>
            <pc:sldMk cId="1500322373" sldId="3562"/>
            <ac:spMk id="33" creationId="{0A550C01-9567-4784-A2C7-C8615E88CE2F}"/>
          </ac:spMkLst>
        </pc:spChg>
        <pc:spChg chg="del">
          <ac:chgData name="Annette Ysland Ludvigsen" userId="5cc2156a-4192-4fe6-8372-bcf947567e0f" providerId="ADAL" clId="{29604A7C-77EF-4D8C-A274-1EAA9DB0101B}" dt="2021-06-14T05:32:14.355" v="7215" actId="478"/>
          <ac:spMkLst>
            <pc:docMk/>
            <pc:sldMk cId="1500322373" sldId="3562"/>
            <ac:spMk id="36" creationId="{07C71626-A4A9-40F4-AE5E-C1E2A0D2D501}"/>
          </ac:spMkLst>
        </pc:spChg>
        <pc:spChg chg="add mod">
          <ac:chgData name="Annette Ysland Ludvigsen" userId="5cc2156a-4192-4fe6-8372-bcf947567e0f" providerId="ADAL" clId="{29604A7C-77EF-4D8C-A274-1EAA9DB0101B}" dt="2021-06-14T05:32:28.727" v="7228" actId="20577"/>
          <ac:spMkLst>
            <pc:docMk/>
            <pc:sldMk cId="1500322373" sldId="3562"/>
            <ac:spMk id="39" creationId="{C635650D-6D13-470A-9C64-2E0106F71A79}"/>
          </ac:spMkLst>
        </pc:spChg>
        <pc:spChg chg="add del mod">
          <ac:chgData name="Annette Ysland Ludvigsen" userId="5cc2156a-4192-4fe6-8372-bcf947567e0f" providerId="ADAL" clId="{29604A7C-77EF-4D8C-A274-1EAA9DB0101B}" dt="2021-06-14T05:33:27.025" v="7247" actId="21"/>
          <ac:spMkLst>
            <pc:docMk/>
            <pc:sldMk cId="1500322373" sldId="3562"/>
            <ac:spMk id="40" creationId="{AEB36E87-E4A6-49A0-83BB-52B6D601BB3E}"/>
          </ac:spMkLst>
        </pc:spChg>
        <pc:cxnChg chg="del mod">
          <ac:chgData name="Annette Ysland Ludvigsen" userId="5cc2156a-4192-4fe6-8372-bcf947567e0f" providerId="ADAL" clId="{29604A7C-77EF-4D8C-A274-1EAA9DB0101B}" dt="2021-06-14T05:32:16.187" v="7217" actId="478"/>
          <ac:cxnSpMkLst>
            <pc:docMk/>
            <pc:sldMk cId="1500322373" sldId="3562"/>
            <ac:cxnSpMk id="10" creationId="{298D52A9-95C1-42D1-9FF5-F07329A17824}"/>
          </ac:cxnSpMkLst>
        </pc:cxnChg>
        <pc:cxnChg chg="del mod">
          <ac:chgData name="Annette Ysland Ludvigsen" userId="5cc2156a-4192-4fe6-8372-bcf947567e0f" providerId="ADAL" clId="{29604A7C-77EF-4D8C-A274-1EAA9DB0101B}" dt="2021-06-14T05:32:09.237" v="7212" actId="478"/>
          <ac:cxnSpMkLst>
            <pc:docMk/>
            <pc:sldMk cId="1500322373" sldId="3562"/>
            <ac:cxnSpMk id="17" creationId="{044817AC-CED1-4DC0-91E9-31232E223AC3}"/>
          </ac:cxnSpMkLst>
        </pc:cxnChg>
        <pc:cxnChg chg="del mod">
          <ac:chgData name="Annette Ysland Ludvigsen" userId="5cc2156a-4192-4fe6-8372-bcf947567e0f" providerId="ADAL" clId="{29604A7C-77EF-4D8C-A274-1EAA9DB0101B}" dt="2021-06-14T05:32:08.397" v="7211" actId="478"/>
          <ac:cxnSpMkLst>
            <pc:docMk/>
            <pc:sldMk cId="1500322373" sldId="3562"/>
            <ac:cxnSpMk id="28" creationId="{1CC3E7DB-853F-4E62-85CF-C74CF606F66F}"/>
          </ac:cxnSpMkLst>
        </pc:cxnChg>
        <pc:cxnChg chg="del mod">
          <ac:chgData name="Annette Ysland Ludvigsen" userId="5cc2156a-4192-4fe6-8372-bcf947567e0f" providerId="ADAL" clId="{29604A7C-77EF-4D8C-A274-1EAA9DB0101B}" dt="2021-06-14T05:32:07.235" v="7210" actId="478"/>
          <ac:cxnSpMkLst>
            <pc:docMk/>
            <pc:sldMk cId="1500322373" sldId="3562"/>
            <ac:cxnSpMk id="31" creationId="{217B36F0-BFE0-44FB-8B1D-2CB5BCA69800}"/>
          </ac:cxnSpMkLst>
        </pc:cxnChg>
        <pc:cxnChg chg="del mod">
          <ac:chgData name="Annette Ysland Ludvigsen" userId="5cc2156a-4192-4fe6-8372-bcf947567e0f" providerId="ADAL" clId="{29604A7C-77EF-4D8C-A274-1EAA9DB0101B}" dt="2021-06-14T05:32:10.799" v="7213" actId="478"/>
          <ac:cxnSpMkLst>
            <pc:docMk/>
            <pc:sldMk cId="1500322373" sldId="3562"/>
            <ac:cxnSpMk id="35" creationId="{C6B63C0E-FBC7-4116-A806-4FCC6F2A8A68}"/>
          </ac:cxnSpMkLst>
        </pc:cxnChg>
        <pc:cxnChg chg="del mod">
          <ac:chgData name="Annette Ysland Ludvigsen" userId="5cc2156a-4192-4fe6-8372-bcf947567e0f" providerId="ADAL" clId="{29604A7C-77EF-4D8C-A274-1EAA9DB0101B}" dt="2021-06-14T05:32:15.549" v="7216" actId="478"/>
          <ac:cxnSpMkLst>
            <pc:docMk/>
            <pc:sldMk cId="1500322373" sldId="3562"/>
            <ac:cxnSpMk id="38" creationId="{8A6B23B7-6F02-4D86-AB2F-8B2F187A51A8}"/>
          </ac:cxnSpMkLst>
        </pc:cxnChg>
      </pc:sldChg>
      <pc:sldChg chg="addSp delSp modSp new mod">
        <pc:chgData name="Annette Ysland Ludvigsen" userId="5cc2156a-4192-4fe6-8372-bcf947567e0f" providerId="ADAL" clId="{29604A7C-77EF-4D8C-A274-1EAA9DB0101B}" dt="2021-06-14T06:08:24.705" v="8238" actId="20577"/>
        <pc:sldMkLst>
          <pc:docMk/>
          <pc:sldMk cId="565842444" sldId="3563"/>
        </pc:sldMkLst>
        <pc:spChg chg="mod">
          <ac:chgData name="Annette Ysland Ludvigsen" userId="5cc2156a-4192-4fe6-8372-bcf947567e0f" providerId="ADAL" clId="{29604A7C-77EF-4D8C-A274-1EAA9DB0101B}" dt="2021-06-14T06:08:24.705" v="8238" actId="20577"/>
          <ac:spMkLst>
            <pc:docMk/>
            <pc:sldMk cId="565842444" sldId="3563"/>
            <ac:spMk id="2" creationId="{5B011448-84EC-4AE9-8CAA-87B296894772}"/>
          </ac:spMkLst>
        </pc:spChg>
        <pc:spChg chg="add del mod">
          <ac:chgData name="Annette Ysland Ludvigsen" userId="5cc2156a-4192-4fe6-8372-bcf947567e0f" providerId="ADAL" clId="{29604A7C-77EF-4D8C-A274-1EAA9DB0101B}" dt="2021-06-14T05:48:16.991" v="7576" actId="478"/>
          <ac:spMkLst>
            <pc:docMk/>
            <pc:sldMk cId="565842444" sldId="3563"/>
            <ac:spMk id="7" creationId="{1FEA81B0-CC7B-439F-827D-61C6D62CD16F}"/>
          </ac:spMkLst>
        </pc:spChg>
        <pc:spChg chg="add mod">
          <ac:chgData name="Annette Ysland Ludvigsen" userId="5cc2156a-4192-4fe6-8372-bcf947567e0f" providerId="ADAL" clId="{29604A7C-77EF-4D8C-A274-1EAA9DB0101B}" dt="2021-06-14T05:50:37.086" v="7626" actId="1035"/>
          <ac:spMkLst>
            <pc:docMk/>
            <pc:sldMk cId="565842444" sldId="3563"/>
            <ac:spMk id="8" creationId="{0A75B180-81B6-40D7-B09C-FD56F8888296}"/>
          </ac:spMkLst>
        </pc:spChg>
        <pc:spChg chg="add mod">
          <ac:chgData name="Annette Ysland Ludvigsen" userId="5cc2156a-4192-4fe6-8372-bcf947567e0f" providerId="ADAL" clId="{29604A7C-77EF-4D8C-A274-1EAA9DB0101B}" dt="2021-06-14T05:49:27.016" v="7589" actId="14100"/>
          <ac:spMkLst>
            <pc:docMk/>
            <pc:sldMk cId="565842444" sldId="3563"/>
            <ac:spMk id="9" creationId="{0FA50C7C-5A33-43C9-8D0B-37A57C21258F}"/>
          </ac:spMkLst>
        </pc:spChg>
        <pc:spChg chg="add mod">
          <ac:chgData name="Annette Ysland Ludvigsen" userId="5cc2156a-4192-4fe6-8372-bcf947567e0f" providerId="ADAL" clId="{29604A7C-77EF-4D8C-A274-1EAA9DB0101B}" dt="2021-06-14T05:50:26.096" v="7620" actId="1035"/>
          <ac:spMkLst>
            <pc:docMk/>
            <pc:sldMk cId="565842444" sldId="3563"/>
            <ac:spMk id="12" creationId="{511BE19D-1E4E-49DD-A957-4AD36DE9CD74}"/>
          </ac:spMkLst>
        </pc:spChg>
        <pc:spChg chg="add mod">
          <ac:chgData name="Annette Ysland Ludvigsen" userId="5cc2156a-4192-4fe6-8372-bcf947567e0f" providerId="ADAL" clId="{29604A7C-77EF-4D8C-A274-1EAA9DB0101B}" dt="2021-06-14T06:07:54.735" v="8216" actId="20577"/>
          <ac:spMkLst>
            <pc:docMk/>
            <pc:sldMk cId="565842444" sldId="3563"/>
            <ac:spMk id="13" creationId="{CEB0FFA2-3C7B-4EB3-914A-8AA4E6DB7128}"/>
          </ac:spMkLst>
        </pc:spChg>
        <pc:spChg chg="add mod">
          <ac:chgData name="Annette Ysland Ludvigsen" userId="5cc2156a-4192-4fe6-8372-bcf947567e0f" providerId="ADAL" clId="{29604A7C-77EF-4D8C-A274-1EAA9DB0101B}" dt="2021-06-14T05:52:01.800" v="7671" actId="208"/>
          <ac:spMkLst>
            <pc:docMk/>
            <pc:sldMk cId="565842444" sldId="3563"/>
            <ac:spMk id="14" creationId="{28506A42-DE38-4CF1-966E-54353EFC5AEB}"/>
          </ac:spMkLst>
        </pc:spChg>
        <pc:spChg chg="add mod">
          <ac:chgData name="Annette Ysland Ludvigsen" userId="5cc2156a-4192-4fe6-8372-bcf947567e0f" providerId="ADAL" clId="{29604A7C-77EF-4D8C-A274-1EAA9DB0101B}" dt="2021-06-14T05:52:05.465" v="7672" actId="208"/>
          <ac:spMkLst>
            <pc:docMk/>
            <pc:sldMk cId="565842444" sldId="3563"/>
            <ac:spMk id="15" creationId="{67D5BD50-E909-4989-9E6D-F447191ADD31}"/>
          </ac:spMkLst>
        </pc:spChg>
        <pc:picChg chg="add mod">
          <ac:chgData name="Annette Ysland Ludvigsen" userId="5cc2156a-4192-4fe6-8372-bcf947567e0f" providerId="ADAL" clId="{29604A7C-77EF-4D8C-A274-1EAA9DB0101B}" dt="2021-06-14T05:49:09.153" v="7583" actId="1076"/>
          <ac:picMkLst>
            <pc:docMk/>
            <pc:sldMk cId="565842444" sldId="3563"/>
            <ac:picMk id="3" creationId="{AB5FE9B9-FD9A-4FA7-808C-3A53531F281F}"/>
          </ac:picMkLst>
        </pc:picChg>
        <pc:picChg chg="add mod">
          <ac:chgData name="Annette Ysland Ludvigsen" userId="5cc2156a-4192-4fe6-8372-bcf947567e0f" providerId="ADAL" clId="{29604A7C-77EF-4D8C-A274-1EAA9DB0101B}" dt="2021-06-14T05:45:52.076" v="7527" actId="14100"/>
          <ac:picMkLst>
            <pc:docMk/>
            <pc:sldMk cId="565842444" sldId="3563"/>
            <ac:picMk id="4" creationId="{FA097DC7-EB13-4A29-A1A2-FE29341CF6E6}"/>
          </ac:picMkLst>
        </pc:picChg>
        <pc:picChg chg="add mod">
          <ac:chgData name="Annette Ysland Ludvigsen" userId="5cc2156a-4192-4fe6-8372-bcf947567e0f" providerId="ADAL" clId="{29604A7C-77EF-4D8C-A274-1EAA9DB0101B}" dt="2021-06-14T05:49:09.153" v="7583" actId="1076"/>
          <ac:picMkLst>
            <pc:docMk/>
            <pc:sldMk cId="565842444" sldId="3563"/>
            <ac:picMk id="5" creationId="{DE24F6F4-B6DC-4419-9F56-94E501FB8BDE}"/>
          </ac:picMkLst>
        </pc:picChg>
        <pc:picChg chg="add mod">
          <ac:chgData name="Annette Ysland Ludvigsen" userId="5cc2156a-4192-4fe6-8372-bcf947567e0f" providerId="ADAL" clId="{29604A7C-77EF-4D8C-A274-1EAA9DB0101B}" dt="2021-06-14T05:49:09.153" v="7583" actId="1076"/>
          <ac:picMkLst>
            <pc:docMk/>
            <pc:sldMk cId="565842444" sldId="3563"/>
            <ac:picMk id="6" creationId="{1D619D0A-B6DC-473E-A8A0-BA41706C083D}"/>
          </ac:picMkLst>
        </pc:picChg>
        <pc:picChg chg="add mod">
          <ac:chgData name="Annette Ysland Ludvigsen" userId="5cc2156a-4192-4fe6-8372-bcf947567e0f" providerId="ADAL" clId="{29604A7C-77EF-4D8C-A274-1EAA9DB0101B}" dt="2021-06-14T05:49:38.656" v="7591" actId="1076"/>
          <ac:picMkLst>
            <pc:docMk/>
            <pc:sldMk cId="565842444" sldId="3563"/>
            <ac:picMk id="10" creationId="{78BA8D0A-5905-492A-BBBA-3447C0991242}"/>
          </ac:picMkLst>
        </pc:picChg>
        <pc:picChg chg="add mod">
          <ac:chgData name="Annette Ysland Ludvigsen" userId="5cc2156a-4192-4fe6-8372-bcf947567e0f" providerId="ADAL" clId="{29604A7C-77EF-4D8C-A274-1EAA9DB0101B}" dt="2021-06-14T05:50:03.576" v="7611" actId="14100"/>
          <ac:picMkLst>
            <pc:docMk/>
            <pc:sldMk cId="565842444" sldId="3563"/>
            <ac:picMk id="11" creationId="{B03D6A5B-D884-4708-84A4-207587B0CBA0}"/>
          </ac:picMkLst>
        </pc:picChg>
      </pc:sldChg>
      <pc:sldChg chg="addSp delSp modSp new del mod ord">
        <pc:chgData name="Annette Ysland Ludvigsen" userId="5cc2156a-4192-4fe6-8372-bcf947567e0f" providerId="ADAL" clId="{29604A7C-77EF-4D8C-A274-1EAA9DB0101B}" dt="2021-06-14T13:33:59.864" v="11189" actId="47"/>
        <pc:sldMkLst>
          <pc:docMk/>
          <pc:sldMk cId="3148780498" sldId="3564"/>
        </pc:sldMkLst>
        <pc:spChg chg="mod">
          <ac:chgData name="Annette Ysland Ludvigsen" userId="5cc2156a-4192-4fe6-8372-bcf947567e0f" providerId="ADAL" clId="{29604A7C-77EF-4D8C-A274-1EAA9DB0101B}" dt="2021-06-14T05:59:52.605" v="7993" actId="20577"/>
          <ac:spMkLst>
            <pc:docMk/>
            <pc:sldMk cId="3148780498" sldId="3564"/>
            <ac:spMk id="2" creationId="{3FA8D3B8-1B06-4AD7-AC74-DF0C87D3AD55}"/>
          </ac:spMkLst>
        </pc:spChg>
        <pc:spChg chg="add mod">
          <ac:chgData name="Annette Ysland Ludvigsen" userId="5cc2156a-4192-4fe6-8372-bcf947567e0f" providerId="ADAL" clId="{29604A7C-77EF-4D8C-A274-1EAA9DB0101B}" dt="2021-06-14T06:00:05.559" v="7995" actId="1076"/>
          <ac:spMkLst>
            <pc:docMk/>
            <pc:sldMk cId="3148780498" sldId="3564"/>
            <ac:spMk id="5" creationId="{E358D997-0101-4D57-AC1C-C9D257C62792}"/>
          </ac:spMkLst>
        </pc:spChg>
        <pc:graphicFrameChg chg="add del mod modGraphic">
          <ac:chgData name="Annette Ysland Ludvigsen" userId="5cc2156a-4192-4fe6-8372-bcf947567e0f" providerId="ADAL" clId="{29604A7C-77EF-4D8C-A274-1EAA9DB0101B}" dt="2021-06-14T05:58:35.275" v="7924" actId="478"/>
          <ac:graphicFrameMkLst>
            <pc:docMk/>
            <pc:sldMk cId="3148780498" sldId="3564"/>
            <ac:graphicFrameMk id="3" creationId="{D51D8614-B766-4D85-843A-AD4375213C13}"/>
          </ac:graphicFrameMkLst>
        </pc:graphicFrameChg>
        <pc:graphicFrameChg chg="add mod modGraphic">
          <ac:chgData name="Annette Ysland Ludvigsen" userId="5cc2156a-4192-4fe6-8372-bcf947567e0f" providerId="ADAL" clId="{29604A7C-77EF-4D8C-A274-1EAA9DB0101B}" dt="2021-06-14T05:59:35.326" v="7961" actId="20577"/>
          <ac:graphicFrameMkLst>
            <pc:docMk/>
            <pc:sldMk cId="3148780498" sldId="3564"/>
            <ac:graphicFrameMk id="4" creationId="{D2579C2E-B7EC-4C12-8B2C-54D463DE8837}"/>
          </ac:graphicFrameMkLst>
        </pc:graphicFrameChg>
      </pc:sldChg>
      <pc:sldChg chg="addSp delSp modSp new mod">
        <pc:chgData name="Annette Ysland Ludvigsen" userId="5cc2156a-4192-4fe6-8372-bcf947567e0f" providerId="ADAL" clId="{29604A7C-77EF-4D8C-A274-1EAA9DB0101B}" dt="2021-06-14T06:03:37.746" v="8157" actId="20577"/>
        <pc:sldMkLst>
          <pc:docMk/>
          <pc:sldMk cId="1421936261" sldId="3565"/>
        </pc:sldMkLst>
        <pc:spChg chg="mod">
          <ac:chgData name="Annette Ysland Ludvigsen" userId="5cc2156a-4192-4fe6-8372-bcf947567e0f" providerId="ADAL" clId="{29604A7C-77EF-4D8C-A274-1EAA9DB0101B}" dt="2021-06-14T06:03:37.746" v="8157" actId="20577"/>
          <ac:spMkLst>
            <pc:docMk/>
            <pc:sldMk cId="1421936261" sldId="3565"/>
            <ac:spMk id="2" creationId="{FB9B4DA0-55B3-40F3-B258-E5E07BC5F011}"/>
          </ac:spMkLst>
        </pc:spChg>
        <pc:spChg chg="del">
          <ac:chgData name="Annette Ysland Ludvigsen" userId="5cc2156a-4192-4fe6-8372-bcf947567e0f" providerId="ADAL" clId="{29604A7C-77EF-4D8C-A274-1EAA9DB0101B}" dt="2021-06-14T06:03:22.066" v="8108" actId="478"/>
          <ac:spMkLst>
            <pc:docMk/>
            <pc:sldMk cId="1421936261" sldId="3565"/>
            <ac:spMk id="3" creationId="{54671AD1-75A7-42BE-9766-EE42557811B8}"/>
          </ac:spMkLst>
        </pc:spChg>
        <pc:graphicFrameChg chg="add mod">
          <ac:chgData name="Annette Ysland Ludvigsen" userId="5cc2156a-4192-4fe6-8372-bcf947567e0f" providerId="ADAL" clId="{29604A7C-77EF-4D8C-A274-1EAA9DB0101B}" dt="2021-06-14T06:03:25.579" v="8110" actId="1076"/>
          <ac:graphicFrameMkLst>
            <pc:docMk/>
            <pc:sldMk cId="1421936261" sldId="3565"/>
            <ac:graphicFrameMk id="4" creationId="{0CB3728D-69A8-4A03-97BB-C1FC026DC65D}"/>
          </ac:graphicFrameMkLst>
        </pc:graphicFrameChg>
      </pc:sldChg>
      <pc:sldChg chg="modSp add mod ord">
        <pc:chgData name="Annette Ysland Ludvigsen" userId="5cc2156a-4192-4fe6-8372-bcf947567e0f" providerId="ADAL" clId="{29604A7C-77EF-4D8C-A274-1EAA9DB0101B}" dt="2021-06-14T06:08:20.665" v="8232" actId="20577"/>
        <pc:sldMkLst>
          <pc:docMk/>
          <pc:sldMk cId="370100479" sldId="3566"/>
        </pc:sldMkLst>
        <pc:spChg chg="mod">
          <ac:chgData name="Annette Ysland Ludvigsen" userId="5cc2156a-4192-4fe6-8372-bcf947567e0f" providerId="ADAL" clId="{29604A7C-77EF-4D8C-A274-1EAA9DB0101B}" dt="2021-06-14T06:08:20.665" v="8232" actId="20577"/>
          <ac:spMkLst>
            <pc:docMk/>
            <pc:sldMk cId="370100479" sldId="3566"/>
            <ac:spMk id="2" creationId="{5B011448-84EC-4AE9-8CAA-87B296894772}"/>
          </ac:spMkLst>
        </pc:spChg>
        <pc:spChg chg="mod">
          <ac:chgData name="Annette Ysland Ludvigsen" userId="5cc2156a-4192-4fe6-8372-bcf947567e0f" providerId="ADAL" clId="{29604A7C-77EF-4D8C-A274-1EAA9DB0101B}" dt="2021-06-14T06:06:56.415" v="8169" actId="20577"/>
          <ac:spMkLst>
            <pc:docMk/>
            <pc:sldMk cId="370100479" sldId="3566"/>
            <ac:spMk id="8" creationId="{0A75B180-81B6-40D7-B09C-FD56F8888296}"/>
          </ac:spMkLst>
        </pc:spChg>
        <pc:spChg chg="mod">
          <ac:chgData name="Annette Ysland Ludvigsen" userId="5cc2156a-4192-4fe6-8372-bcf947567e0f" providerId="ADAL" clId="{29604A7C-77EF-4D8C-A274-1EAA9DB0101B}" dt="2021-06-14T06:08:13.844" v="8227" actId="1076"/>
          <ac:spMkLst>
            <pc:docMk/>
            <pc:sldMk cId="370100479" sldId="3566"/>
            <ac:spMk id="9" creationId="{0FA50C7C-5A33-43C9-8D0B-37A57C21258F}"/>
          </ac:spMkLst>
        </pc:spChg>
        <pc:spChg chg="mod">
          <ac:chgData name="Annette Ysland Ludvigsen" userId="5cc2156a-4192-4fe6-8372-bcf947567e0f" providerId="ADAL" clId="{29604A7C-77EF-4D8C-A274-1EAA9DB0101B}" dt="2021-06-14T06:08:01.745" v="8224" actId="14100"/>
          <ac:spMkLst>
            <pc:docMk/>
            <pc:sldMk cId="370100479" sldId="3566"/>
            <ac:spMk id="13" creationId="{CEB0FFA2-3C7B-4EB3-914A-8AA4E6DB7128}"/>
          </ac:spMkLst>
        </pc:spChg>
        <pc:picChg chg="mod">
          <ac:chgData name="Annette Ysland Ludvigsen" userId="5cc2156a-4192-4fe6-8372-bcf947567e0f" providerId="ADAL" clId="{29604A7C-77EF-4D8C-A274-1EAA9DB0101B}" dt="2021-06-14T06:08:04.211" v="8225" actId="14100"/>
          <ac:picMkLst>
            <pc:docMk/>
            <pc:sldMk cId="370100479" sldId="3566"/>
            <ac:picMk id="11" creationId="{B03D6A5B-D884-4708-84A4-207587B0CBA0}"/>
          </ac:picMkLst>
        </pc:picChg>
      </pc:sldChg>
      <pc:sldChg chg="addSp delSp modSp add mod ord">
        <pc:chgData name="Annette Ysland Ludvigsen" userId="5cc2156a-4192-4fe6-8372-bcf947567e0f" providerId="ADAL" clId="{29604A7C-77EF-4D8C-A274-1EAA9DB0101B}" dt="2021-06-14T06:26:21.741" v="8294" actId="20577"/>
        <pc:sldMkLst>
          <pc:docMk/>
          <pc:sldMk cId="3385780700" sldId="3567"/>
        </pc:sldMkLst>
        <pc:spChg chg="mod">
          <ac:chgData name="Annette Ysland Ludvigsen" userId="5cc2156a-4192-4fe6-8372-bcf947567e0f" providerId="ADAL" clId="{29604A7C-77EF-4D8C-A274-1EAA9DB0101B}" dt="2021-06-14T06:24:16.206" v="8248" actId="20577"/>
          <ac:spMkLst>
            <pc:docMk/>
            <pc:sldMk cId="3385780700" sldId="3567"/>
            <ac:spMk id="2" creationId="{5B011448-84EC-4AE9-8CAA-87B296894772}"/>
          </ac:spMkLst>
        </pc:spChg>
        <pc:spChg chg="del">
          <ac:chgData name="Annette Ysland Ludvigsen" userId="5cc2156a-4192-4fe6-8372-bcf947567e0f" providerId="ADAL" clId="{29604A7C-77EF-4D8C-A274-1EAA9DB0101B}" dt="2021-06-14T06:25:01.700" v="8262" actId="478"/>
          <ac:spMkLst>
            <pc:docMk/>
            <pc:sldMk cId="3385780700" sldId="3567"/>
            <ac:spMk id="8" creationId="{0A75B180-81B6-40D7-B09C-FD56F8888296}"/>
          </ac:spMkLst>
        </pc:spChg>
        <pc:spChg chg="del">
          <ac:chgData name="Annette Ysland Ludvigsen" userId="5cc2156a-4192-4fe6-8372-bcf947567e0f" providerId="ADAL" clId="{29604A7C-77EF-4D8C-A274-1EAA9DB0101B}" dt="2021-06-14T06:24:58.791" v="8260" actId="478"/>
          <ac:spMkLst>
            <pc:docMk/>
            <pc:sldMk cId="3385780700" sldId="3567"/>
            <ac:spMk id="9" creationId="{0FA50C7C-5A33-43C9-8D0B-37A57C21258F}"/>
          </ac:spMkLst>
        </pc:spChg>
        <pc:spChg chg="mod">
          <ac:chgData name="Annette Ysland Ludvigsen" userId="5cc2156a-4192-4fe6-8372-bcf947567e0f" providerId="ADAL" clId="{29604A7C-77EF-4D8C-A274-1EAA9DB0101B}" dt="2021-06-14T06:25:12.430" v="8267" actId="1076"/>
          <ac:spMkLst>
            <pc:docMk/>
            <pc:sldMk cId="3385780700" sldId="3567"/>
            <ac:spMk id="12" creationId="{511BE19D-1E4E-49DD-A957-4AD36DE9CD74}"/>
          </ac:spMkLst>
        </pc:spChg>
        <pc:spChg chg="del mod">
          <ac:chgData name="Annette Ysland Ludvigsen" userId="5cc2156a-4192-4fe6-8372-bcf947567e0f" providerId="ADAL" clId="{29604A7C-77EF-4D8C-A274-1EAA9DB0101B}" dt="2021-06-14T06:25:39.723" v="8270" actId="478"/>
          <ac:spMkLst>
            <pc:docMk/>
            <pc:sldMk cId="3385780700" sldId="3567"/>
            <ac:spMk id="13" creationId="{CEB0FFA2-3C7B-4EB3-914A-8AA4E6DB7128}"/>
          </ac:spMkLst>
        </pc:spChg>
        <pc:spChg chg="del">
          <ac:chgData name="Annette Ysland Ludvigsen" userId="5cc2156a-4192-4fe6-8372-bcf947567e0f" providerId="ADAL" clId="{29604A7C-77EF-4D8C-A274-1EAA9DB0101B}" dt="2021-06-14T06:25:02.437" v="8263" actId="478"/>
          <ac:spMkLst>
            <pc:docMk/>
            <pc:sldMk cId="3385780700" sldId="3567"/>
            <ac:spMk id="14" creationId="{28506A42-DE38-4CF1-966E-54353EFC5AEB}"/>
          </ac:spMkLst>
        </pc:spChg>
        <pc:spChg chg="mod">
          <ac:chgData name="Annette Ysland Ludvigsen" userId="5cc2156a-4192-4fe6-8372-bcf947567e0f" providerId="ADAL" clId="{29604A7C-77EF-4D8C-A274-1EAA9DB0101B}" dt="2021-06-14T06:25:06.163" v="8265" actId="14100"/>
          <ac:spMkLst>
            <pc:docMk/>
            <pc:sldMk cId="3385780700" sldId="3567"/>
            <ac:spMk id="15" creationId="{67D5BD50-E909-4989-9E6D-F447191ADD31}"/>
          </ac:spMkLst>
        </pc:spChg>
        <pc:spChg chg="add mod">
          <ac:chgData name="Annette Ysland Ludvigsen" userId="5cc2156a-4192-4fe6-8372-bcf947567e0f" providerId="ADAL" clId="{29604A7C-77EF-4D8C-A274-1EAA9DB0101B}" dt="2021-06-14T06:26:21.741" v="8294" actId="20577"/>
          <ac:spMkLst>
            <pc:docMk/>
            <pc:sldMk cId="3385780700" sldId="3567"/>
            <ac:spMk id="17" creationId="{93DFB9B4-9D01-40E6-9A64-5E4093AE318E}"/>
          </ac:spMkLst>
        </pc:spChg>
        <pc:picChg chg="del">
          <ac:chgData name="Annette Ysland Ludvigsen" userId="5cc2156a-4192-4fe6-8372-bcf947567e0f" providerId="ADAL" clId="{29604A7C-77EF-4D8C-A274-1EAA9DB0101B}" dt="2021-06-14T06:25:03.113" v="8264" actId="478"/>
          <ac:picMkLst>
            <pc:docMk/>
            <pc:sldMk cId="3385780700" sldId="3567"/>
            <ac:picMk id="3" creationId="{AB5FE9B9-FD9A-4FA7-808C-3A53531F281F}"/>
          </ac:picMkLst>
        </pc:picChg>
        <pc:picChg chg="mod">
          <ac:chgData name="Annette Ysland Ludvigsen" userId="5cc2156a-4192-4fe6-8372-bcf947567e0f" providerId="ADAL" clId="{29604A7C-77EF-4D8C-A274-1EAA9DB0101B}" dt="2021-06-14T06:25:22.475" v="8269" actId="1076"/>
          <ac:picMkLst>
            <pc:docMk/>
            <pc:sldMk cId="3385780700" sldId="3567"/>
            <ac:picMk id="4" creationId="{FA097DC7-EB13-4A29-A1A2-FE29341CF6E6}"/>
          </ac:picMkLst>
        </pc:picChg>
        <pc:picChg chg="del">
          <ac:chgData name="Annette Ysland Ludvigsen" userId="5cc2156a-4192-4fe6-8372-bcf947567e0f" providerId="ADAL" clId="{29604A7C-77EF-4D8C-A274-1EAA9DB0101B}" dt="2021-06-14T06:24:59.593" v="8261" actId="478"/>
          <ac:picMkLst>
            <pc:docMk/>
            <pc:sldMk cId="3385780700" sldId="3567"/>
            <ac:picMk id="5" creationId="{DE24F6F4-B6DC-4419-9F56-94E501FB8BDE}"/>
          </ac:picMkLst>
        </pc:picChg>
        <pc:picChg chg="del">
          <ac:chgData name="Annette Ysland Ludvigsen" userId="5cc2156a-4192-4fe6-8372-bcf947567e0f" providerId="ADAL" clId="{29604A7C-77EF-4D8C-A274-1EAA9DB0101B}" dt="2021-06-14T06:24:56.444" v="8259" actId="478"/>
          <ac:picMkLst>
            <pc:docMk/>
            <pc:sldMk cId="3385780700" sldId="3567"/>
            <ac:picMk id="6" creationId="{1D619D0A-B6DC-473E-A8A0-BA41706C083D}"/>
          </ac:picMkLst>
        </pc:picChg>
        <pc:picChg chg="mod">
          <ac:chgData name="Annette Ysland Ludvigsen" userId="5cc2156a-4192-4fe6-8372-bcf947567e0f" providerId="ADAL" clId="{29604A7C-77EF-4D8C-A274-1EAA9DB0101B}" dt="2021-06-14T06:25:08.674" v="8266" actId="1076"/>
          <ac:picMkLst>
            <pc:docMk/>
            <pc:sldMk cId="3385780700" sldId="3567"/>
            <ac:picMk id="10" creationId="{78BA8D0A-5905-492A-BBBA-3447C0991242}"/>
          </ac:picMkLst>
        </pc:picChg>
        <pc:picChg chg="del mod">
          <ac:chgData name="Annette Ysland Ludvigsen" userId="5cc2156a-4192-4fe6-8372-bcf947567e0f" providerId="ADAL" clId="{29604A7C-77EF-4D8C-A274-1EAA9DB0101B}" dt="2021-06-14T06:25:40.468" v="8271" actId="478"/>
          <ac:picMkLst>
            <pc:docMk/>
            <pc:sldMk cId="3385780700" sldId="3567"/>
            <ac:picMk id="11" creationId="{B03D6A5B-D884-4708-84A4-207587B0CBA0}"/>
          </ac:picMkLst>
        </pc:picChg>
        <pc:picChg chg="add mod">
          <ac:chgData name="Annette Ysland Ludvigsen" userId="5cc2156a-4192-4fe6-8372-bcf947567e0f" providerId="ADAL" clId="{29604A7C-77EF-4D8C-A274-1EAA9DB0101B}" dt="2021-06-14T06:26:15.967" v="8273" actId="1076"/>
          <ac:picMkLst>
            <pc:docMk/>
            <pc:sldMk cId="3385780700" sldId="3567"/>
            <ac:picMk id="16" creationId="{628AD1AE-281B-48F8-9C31-B51896E44377}"/>
          </ac:picMkLst>
        </pc:picChg>
      </pc:sldChg>
      <pc:sldChg chg="add">
        <pc:chgData name="Annette Ysland Ludvigsen" userId="5cc2156a-4192-4fe6-8372-bcf947567e0f" providerId="ADAL" clId="{29604A7C-77EF-4D8C-A274-1EAA9DB0101B}" dt="2021-06-14T08:46:24.729" v="8466"/>
        <pc:sldMkLst>
          <pc:docMk/>
          <pc:sldMk cId="1476696746" sldId="3568"/>
        </pc:sldMkLst>
      </pc:sldChg>
      <pc:sldChg chg="modSp new del mod">
        <pc:chgData name="Annette Ysland Ludvigsen" userId="5cc2156a-4192-4fe6-8372-bcf947567e0f" providerId="ADAL" clId="{29604A7C-77EF-4D8C-A274-1EAA9DB0101B}" dt="2021-06-14T12:35:48.372" v="8589" actId="47"/>
        <pc:sldMkLst>
          <pc:docMk/>
          <pc:sldMk cId="2410184794" sldId="3569"/>
        </pc:sldMkLst>
        <pc:spChg chg="mod">
          <ac:chgData name="Annette Ysland Ludvigsen" userId="5cc2156a-4192-4fe6-8372-bcf947567e0f" providerId="ADAL" clId="{29604A7C-77EF-4D8C-A274-1EAA9DB0101B}" dt="2021-06-14T09:24:35.933" v="8587" actId="20577"/>
          <ac:spMkLst>
            <pc:docMk/>
            <pc:sldMk cId="2410184794" sldId="3569"/>
            <ac:spMk id="2" creationId="{1DBF876F-5970-4A94-8EF5-ABF9711E9512}"/>
          </ac:spMkLst>
        </pc:spChg>
      </pc:sldChg>
      <pc:sldChg chg="add">
        <pc:chgData name="Annette Ysland Ludvigsen" userId="5cc2156a-4192-4fe6-8372-bcf947567e0f" providerId="ADAL" clId="{29604A7C-77EF-4D8C-A274-1EAA9DB0101B}" dt="2021-06-14T12:36:09.299" v="8590"/>
        <pc:sldMkLst>
          <pc:docMk/>
          <pc:sldMk cId="2834201114" sldId="4125"/>
        </pc:sldMkLst>
      </pc:sldChg>
      <pc:sldChg chg="add">
        <pc:chgData name="Annette Ysland Ludvigsen" userId="5cc2156a-4192-4fe6-8372-bcf947567e0f" providerId="ADAL" clId="{29604A7C-77EF-4D8C-A274-1EAA9DB0101B}" dt="2021-06-14T12:35:46.382" v="8588"/>
        <pc:sldMkLst>
          <pc:docMk/>
          <pc:sldMk cId="1336965358" sldId="4126"/>
        </pc:sldMkLst>
      </pc:sldChg>
      <pc:sldChg chg="addSp delSp modSp add mod ord">
        <pc:chgData name="Annette Ysland Ludvigsen" userId="5cc2156a-4192-4fe6-8372-bcf947567e0f" providerId="ADAL" clId="{29604A7C-77EF-4D8C-A274-1EAA9DB0101B}" dt="2021-06-14T13:47:57.008" v="11983" actId="1076"/>
        <pc:sldMkLst>
          <pc:docMk/>
          <pc:sldMk cId="1482334589" sldId="4127"/>
        </pc:sldMkLst>
        <pc:spChg chg="del mod">
          <ac:chgData name="Annette Ysland Ludvigsen" userId="5cc2156a-4192-4fe6-8372-bcf947567e0f" providerId="ADAL" clId="{29604A7C-77EF-4D8C-A274-1EAA9DB0101B}" dt="2021-06-14T13:19:46.096" v="10458" actId="478"/>
          <ac:spMkLst>
            <pc:docMk/>
            <pc:sldMk cId="1482334589" sldId="4127"/>
            <ac:spMk id="2" creationId="{66491E10-C6DE-4D85-A4BC-AC051EF080D8}"/>
          </ac:spMkLst>
        </pc:spChg>
        <pc:spChg chg="del">
          <ac:chgData name="Annette Ysland Ludvigsen" userId="5cc2156a-4192-4fe6-8372-bcf947567e0f" providerId="ADAL" clId="{29604A7C-77EF-4D8C-A274-1EAA9DB0101B}" dt="2021-06-14T13:15:11.175" v="10298" actId="478"/>
          <ac:spMkLst>
            <pc:docMk/>
            <pc:sldMk cId="1482334589" sldId="4127"/>
            <ac:spMk id="8" creationId="{9CC81940-AE30-4668-A9A0-7D522EEB6AFB}"/>
          </ac:spMkLst>
        </pc:spChg>
        <pc:spChg chg="del mod">
          <ac:chgData name="Annette Ysland Ludvigsen" userId="5cc2156a-4192-4fe6-8372-bcf947567e0f" providerId="ADAL" clId="{29604A7C-77EF-4D8C-A274-1EAA9DB0101B}" dt="2021-06-14T13:15:10.685" v="10297" actId="478"/>
          <ac:spMkLst>
            <pc:docMk/>
            <pc:sldMk cId="1482334589" sldId="4127"/>
            <ac:spMk id="9" creationId="{695B0962-BC36-4737-A3E7-ACA8232DC92F}"/>
          </ac:spMkLst>
        </pc:spChg>
        <pc:spChg chg="del">
          <ac:chgData name="Annette Ysland Ludvigsen" userId="5cc2156a-4192-4fe6-8372-bcf947567e0f" providerId="ADAL" clId="{29604A7C-77EF-4D8C-A274-1EAA9DB0101B}" dt="2021-06-14T13:15:08.895" v="10296" actId="478"/>
          <ac:spMkLst>
            <pc:docMk/>
            <pc:sldMk cId="1482334589" sldId="4127"/>
            <ac:spMk id="10" creationId="{A630B9E1-6788-46ED-A662-5E0D3566509D}"/>
          </ac:spMkLst>
        </pc:spChg>
        <pc:spChg chg="del mod">
          <ac:chgData name="Annette Ysland Ludvigsen" userId="5cc2156a-4192-4fe6-8372-bcf947567e0f" providerId="ADAL" clId="{29604A7C-77EF-4D8C-A274-1EAA9DB0101B}" dt="2021-06-14T13:15:33.895" v="10308" actId="478"/>
          <ac:spMkLst>
            <pc:docMk/>
            <pc:sldMk cId="1482334589" sldId="4127"/>
            <ac:spMk id="11" creationId="{B6E2E556-9337-4419-91A1-D54D156AE023}"/>
          </ac:spMkLst>
        </pc:spChg>
        <pc:spChg chg="mod">
          <ac:chgData name="Annette Ysland Ludvigsen" userId="5cc2156a-4192-4fe6-8372-bcf947567e0f" providerId="ADAL" clId="{29604A7C-77EF-4D8C-A274-1EAA9DB0101B}" dt="2021-06-14T13:47:57.008" v="11983" actId="1076"/>
          <ac:spMkLst>
            <pc:docMk/>
            <pc:sldMk cId="1482334589" sldId="4127"/>
            <ac:spMk id="12" creationId="{9EEEA449-EF90-41DB-AAA1-71B83503D0AA}"/>
          </ac:spMkLst>
        </pc:spChg>
        <pc:spChg chg="mod">
          <ac:chgData name="Annette Ysland Ludvigsen" userId="5cc2156a-4192-4fe6-8372-bcf947567e0f" providerId="ADAL" clId="{29604A7C-77EF-4D8C-A274-1EAA9DB0101B}" dt="2021-06-14T13:22:28.132" v="10493" actId="1076"/>
          <ac:spMkLst>
            <pc:docMk/>
            <pc:sldMk cId="1482334589" sldId="4127"/>
            <ac:spMk id="13" creationId="{1FBA5DFD-6801-4C7B-B1CA-79F7FC4B44A0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4" creationId="{6914E349-A5CB-480A-A085-55DF416F20F3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5" creationId="{E9331284-751D-47AA-A377-FA2F0C922E1F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6" creationId="{6070946A-FE98-48EF-9934-D0567AEFA461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7" creationId="{118360D7-4002-4866-9C75-C020778E3313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8" creationId="{6F56D537-2421-4EA2-9552-EAB80F70FE11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9" creationId="{FE363707-F209-4D9D-8C8E-D86A90759FE7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0" creationId="{1E06D953-A02D-49EB-8D4A-607D0D92C426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1" creationId="{45B705DD-A643-482C-B5B4-B35F2CB48D20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2" creationId="{3712696C-1B99-4CE6-BEA3-C90796E7A3FC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3" creationId="{9F8DA595-7216-4F7C-9216-AD0E870512C5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4" creationId="{69DCF3FF-B97A-445B-A8D5-B905DA6660BD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5" creationId="{AF0D4754-AB5A-410E-85E4-0933F764A8DD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6" creationId="{6327C0F6-75BE-4778-8F12-2200EAEA3AEE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7" creationId="{8D15DCC0-D04B-4BD0-AE0B-71BAC77741B1}"/>
          </ac:spMkLst>
        </pc:spChg>
        <pc:spChg chg="mod">
          <ac:chgData name="Annette Ysland Ludvigsen" userId="5cc2156a-4192-4fe6-8372-bcf947567e0f" providerId="ADAL" clId="{29604A7C-77EF-4D8C-A274-1EAA9DB0101B}" dt="2021-06-14T13:44:50.650" v="11906" actId="1076"/>
          <ac:spMkLst>
            <pc:docMk/>
            <pc:sldMk cId="1482334589" sldId="4127"/>
            <ac:spMk id="28" creationId="{22AD6308-5498-4E48-BB0B-5066FE482164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29" creationId="{315180D2-AB24-4C61-95F0-C8C0B77C6ED4}"/>
          </ac:spMkLst>
        </pc:spChg>
        <pc:spChg chg="del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30" creationId="{426DA86C-98B4-42AA-9237-862D0477F505}"/>
          </ac:spMkLst>
        </pc:spChg>
        <pc:spChg chg="del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31" creationId="{269FF122-00A4-47D1-8183-EB9AF36D9C66}"/>
          </ac:spMkLst>
        </pc:spChg>
        <pc:spChg chg="del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32" creationId="{228A3DD0-531B-433F-B0A4-A2B5FABE1DF0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33" creationId="{6CF819FB-9D77-44A0-894E-68015CDDEA7F}"/>
          </ac:spMkLst>
        </pc:spChg>
        <pc:spChg chg="add mod">
          <ac:chgData name="Annette Ysland Ludvigsen" userId="5cc2156a-4192-4fe6-8372-bcf947567e0f" providerId="ADAL" clId="{29604A7C-77EF-4D8C-A274-1EAA9DB0101B}" dt="2021-06-14T13:29:55.366" v="11104" actId="1076"/>
          <ac:spMkLst>
            <pc:docMk/>
            <pc:sldMk cId="1482334589" sldId="4127"/>
            <ac:spMk id="54" creationId="{99BC2B5F-5487-4015-82FD-30EE02EFA8E3}"/>
          </ac:spMkLst>
        </pc:spChg>
        <pc:spChg chg="add mod">
          <ac:chgData name="Annette Ysland Ludvigsen" userId="5cc2156a-4192-4fe6-8372-bcf947567e0f" providerId="ADAL" clId="{29604A7C-77EF-4D8C-A274-1EAA9DB0101B}" dt="2021-06-14T13:44:45.159" v="11905" actId="1076"/>
          <ac:spMkLst>
            <pc:docMk/>
            <pc:sldMk cId="1482334589" sldId="4127"/>
            <ac:spMk id="63" creationId="{DE1288E1-1783-404A-BCC7-5793585A1EB6}"/>
          </ac:spMkLst>
        </pc:spChg>
        <pc:spChg chg="add mod">
          <ac:chgData name="Annette Ysland Ludvigsen" userId="5cc2156a-4192-4fe6-8372-bcf947567e0f" providerId="ADAL" clId="{29604A7C-77EF-4D8C-A274-1EAA9DB0101B}" dt="2021-06-14T13:44:42.622" v="11904" actId="1076"/>
          <ac:spMkLst>
            <pc:docMk/>
            <pc:sldMk cId="1482334589" sldId="4127"/>
            <ac:spMk id="64" creationId="{EAB4AEF0-5B50-4502-BB8B-5A18204D8F5F}"/>
          </ac:spMkLst>
        </pc:spChg>
        <pc:spChg chg="add del mod">
          <ac:chgData name="Annette Ysland Ludvigsen" userId="5cc2156a-4192-4fe6-8372-bcf947567e0f" providerId="ADAL" clId="{29604A7C-77EF-4D8C-A274-1EAA9DB0101B}" dt="2021-06-14T13:15:04.660" v="10295" actId="478"/>
          <ac:spMkLst>
            <pc:docMk/>
            <pc:sldMk cId="1482334589" sldId="4127"/>
            <ac:spMk id="73" creationId="{E49F4A1D-378B-4D40-9BD3-DCA71247E3BD}"/>
          </ac:spMkLst>
        </pc:spChg>
        <pc:spChg chg="del mod">
          <ac:chgData name="Annette Ysland Ludvigsen" userId="5cc2156a-4192-4fe6-8372-bcf947567e0f" providerId="ADAL" clId="{29604A7C-77EF-4D8C-A274-1EAA9DB0101B}" dt="2021-06-14T13:17:33.805" v="10348" actId="478"/>
          <ac:spMkLst>
            <pc:docMk/>
            <pc:sldMk cId="1482334589" sldId="4127"/>
            <ac:spMk id="101" creationId="{75243108-5FEE-4B32-BE72-09A776E00599}"/>
          </ac:spMkLst>
        </pc:spChg>
        <pc:spChg chg="add mod">
          <ac:chgData name="Annette Ysland Ludvigsen" userId="5cc2156a-4192-4fe6-8372-bcf947567e0f" providerId="ADAL" clId="{29604A7C-77EF-4D8C-A274-1EAA9DB0101B}" dt="2021-06-14T13:29:38.073" v="11103" actId="14100"/>
          <ac:spMkLst>
            <pc:docMk/>
            <pc:sldMk cId="1482334589" sldId="4127"/>
            <ac:spMk id="378" creationId="{497BA549-D5A3-4248-A6B0-838537E6CAC0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79" creationId="{4399FBFC-06CC-4C78-88F6-6E41348EF25B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0" creationId="{AFEAB75E-53F1-4DF6-A356-A04C820C967A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1" creationId="{F7F115BC-0D23-496A-B393-72E0A8C49B93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2" creationId="{A95503AB-E690-4961-96A3-B87E56835226}"/>
          </ac:spMkLst>
        </pc:spChg>
        <pc:spChg chg="add mod">
          <ac:chgData name="Annette Ysland Ludvigsen" userId="5cc2156a-4192-4fe6-8372-bcf947567e0f" providerId="ADAL" clId="{29604A7C-77EF-4D8C-A274-1EAA9DB0101B}" dt="2021-06-14T13:29:35.517" v="11102" actId="14100"/>
          <ac:spMkLst>
            <pc:docMk/>
            <pc:sldMk cId="1482334589" sldId="4127"/>
            <ac:spMk id="383" creationId="{E828BC33-5353-49BF-B065-DA16A64EA643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4" creationId="{D538E79F-C45A-4708-9566-077B43CC3B29}"/>
          </ac:spMkLst>
        </pc:spChg>
        <pc:spChg chg="add mod">
          <ac:chgData name="Annette Ysland Ludvigsen" userId="5cc2156a-4192-4fe6-8372-bcf947567e0f" providerId="ADAL" clId="{29604A7C-77EF-4D8C-A274-1EAA9DB0101B}" dt="2021-06-14T13:29:33.206" v="11101" actId="14100"/>
          <ac:spMkLst>
            <pc:docMk/>
            <pc:sldMk cId="1482334589" sldId="4127"/>
            <ac:spMk id="385" creationId="{653D844D-1042-483F-A464-D1BCB3A2EEDC}"/>
          </ac:spMkLst>
        </pc:spChg>
        <pc:spChg chg="add mod">
          <ac:chgData name="Annette Ysland Ludvigsen" userId="5cc2156a-4192-4fe6-8372-bcf947567e0f" providerId="ADAL" clId="{29604A7C-77EF-4D8C-A274-1EAA9DB0101B}" dt="2021-06-14T13:29:30.547" v="11100" actId="14100"/>
          <ac:spMkLst>
            <pc:docMk/>
            <pc:sldMk cId="1482334589" sldId="4127"/>
            <ac:spMk id="386" creationId="{B345B32F-38F4-44D6-B50E-7AAF60E1BCBB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7" creationId="{B958144D-1AFB-4AF6-BDF5-FDE22BE081C3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88" creationId="{B6D8BD3D-4767-4D67-8322-E423B6F0F675}"/>
          </ac:spMkLst>
        </pc:spChg>
        <pc:spChg chg="add mod">
          <ac:chgData name="Annette Ysland Ludvigsen" userId="5cc2156a-4192-4fe6-8372-bcf947567e0f" providerId="ADAL" clId="{29604A7C-77EF-4D8C-A274-1EAA9DB0101B}" dt="2021-06-14T13:29:28.160" v="11099" actId="14100"/>
          <ac:spMkLst>
            <pc:docMk/>
            <pc:sldMk cId="1482334589" sldId="4127"/>
            <ac:spMk id="389" creationId="{6CA56D6F-E4D1-471D-944C-F0E2F69003B9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0" creationId="{050211B8-131A-4E62-A634-75B5E86A32D7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1" creationId="{65ECA1EF-9B39-4D1D-8305-4BBF8F08E673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2" creationId="{F53825E8-5907-418E-96AB-DE0534A90D38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3" creationId="{8A50A012-948C-4AD3-A90B-13ECEFEF3D01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4" creationId="{D326C445-FED9-404D-A793-52BB9BE0F11A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395" creationId="{B60A3700-4CCA-4E26-80B6-20D252A05C2E}"/>
          </ac:spMkLst>
        </pc:spChg>
        <pc:spChg chg="add del mod">
          <ac:chgData name="Annette Ysland Ludvigsen" userId="5cc2156a-4192-4fe6-8372-bcf947567e0f" providerId="ADAL" clId="{29604A7C-77EF-4D8C-A274-1EAA9DB0101B}" dt="2021-06-14T13:21:21.836" v="10473" actId="478"/>
          <ac:spMkLst>
            <pc:docMk/>
            <pc:sldMk cId="1482334589" sldId="4127"/>
            <ac:spMk id="396" creationId="{D9C507AA-1F89-4231-AB35-83CC8998E1BA}"/>
          </ac:spMkLst>
        </pc:spChg>
        <pc:spChg chg="add del mod">
          <ac:chgData name="Annette Ysland Ludvigsen" userId="5cc2156a-4192-4fe6-8372-bcf947567e0f" providerId="ADAL" clId="{29604A7C-77EF-4D8C-A274-1EAA9DB0101B}" dt="2021-06-14T13:19:48.575" v="10459" actId="478"/>
          <ac:spMkLst>
            <pc:docMk/>
            <pc:sldMk cId="1482334589" sldId="4127"/>
            <ac:spMk id="398" creationId="{D54AA7DB-61CB-481C-8FE3-B98B255E9AF1}"/>
          </ac:spMkLst>
        </pc:spChg>
        <pc:spChg chg="add mod">
          <ac:chgData name="Annette Ysland Ludvigsen" userId="5cc2156a-4192-4fe6-8372-bcf947567e0f" providerId="ADAL" clId="{29604A7C-77EF-4D8C-A274-1EAA9DB0101B}" dt="2021-06-14T13:29:23.305" v="11097" actId="14100"/>
          <ac:spMkLst>
            <pc:docMk/>
            <pc:sldMk cId="1482334589" sldId="4127"/>
            <ac:spMk id="400" creationId="{19B900C6-7567-4872-9F96-694D52F8E0DD}"/>
          </ac:spMkLst>
        </pc:spChg>
        <pc:spChg chg="add mod">
          <ac:chgData name="Annette Ysland Ludvigsen" userId="5cc2156a-4192-4fe6-8372-bcf947567e0f" providerId="ADAL" clId="{29604A7C-77EF-4D8C-A274-1EAA9DB0101B}" dt="2021-06-14T13:31:14.308" v="11143" actId="207"/>
          <ac:spMkLst>
            <pc:docMk/>
            <pc:sldMk cId="1482334589" sldId="4127"/>
            <ac:spMk id="499" creationId="{38BA52DF-34ED-400C-9B2F-927B78EF1A8B}"/>
          </ac:spMkLst>
        </pc:spChg>
        <pc:spChg chg="add mod">
          <ac:chgData name="Annette Ysland Ludvigsen" userId="5cc2156a-4192-4fe6-8372-bcf947567e0f" providerId="ADAL" clId="{29604A7C-77EF-4D8C-A274-1EAA9DB0101B}" dt="2021-06-14T13:31:14.308" v="11143" actId="207"/>
          <ac:spMkLst>
            <pc:docMk/>
            <pc:sldMk cId="1482334589" sldId="4127"/>
            <ac:spMk id="500" creationId="{E76D3907-85CC-4AFE-8C4E-733C44D13B85}"/>
          </ac:spMkLst>
        </pc:spChg>
        <pc:spChg chg="add mod">
          <ac:chgData name="Annette Ysland Ludvigsen" userId="5cc2156a-4192-4fe6-8372-bcf947567e0f" providerId="ADAL" clId="{29604A7C-77EF-4D8C-A274-1EAA9DB0101B}" dt="2021-06-14T13:31:45.655" v="11147" actId="20577"/>
          <ac:spMkLst>
            <pc:docMk/>
            <pc:sldMk cId="1482334589" sldId="4127"/>
            <ac:spMk id="562" creationId="{D8B69CD4-B059-41FB-AC64-1BDA3219354E}"/>
          </ac:spMkLst>
        </pc:spChg>
        <pc:spChg chg="add mod">
          <ac:chgData name="Annette Ysland Ludvigsen" userId="5cc2156a-4192-4fe6-8372-bcf947567e0f" providerId="ADAL" clId="{29604A7C-77EF-4D8C-A274-1EAA9DB0101B}" dt="2021-06-14T13:44:28.240" v="11903" actId="122"/>
          <ac:spMkLst>
            <pc:docMk/>
            <pc:sldMk cId="1482334589" sldId="4127"/>
            <ac:spMk id="575" creationId="{FDE1D5EE-5D41-4ADB-A10B-CD247C409E4A}"/>
          </ac:spMkLst>
        </pc:spChg>
        <pc:spChg chg="add mod ord">
          <ac:chgData name="Annette Ysland Ludvigsen" userId="5cc2156a-4192-4fe6-8372-bcf947567e0f" providerId="ADAL" clId="{29604A7C-77EF-4D8C-A274-1EAA9DB0101B}" dt="2021-06-14T13:44:08.127" v="11889" actId="14100"/>
          <ac:spMkLst>
            <pc:docMk/>
            <pc:sldMk cId="1482334589" sldId="4127"/>
            <ac:spMk id="576" creationId="{62F686D8-4F64-40B1-A1B0-756F3AC33C41}"/>
          </ac:spMkLst>
        </pc:spChg>
        <pc:spChg chg="add mod ord">
          <ac:chgData name="Annette Ysland Ludvigsen" userId="5cc2156a-4192-4fe6-8372-bcf947567e0f" providerId="ADAL" clId="{29604A7C-77EF-4D8C-A274-1EAA9DB0101B}" dt="2021-06-14T13:44:05.285" v="11888" actId="14100"/>
          <ac:spMkLst>
            <pc:docMk/>
            <pc:sldMk cId="1482334589" sldId="4127"/>
            <ac:spMk id="577" creationId="{84BE822D-96E1-4934-91D2-4538C51EA664}"/>
          </ac:spMkLst>
        </pc:spChg>
        <pc:spChg chg="add mod ord">
          <ac:chgData name="Annette Ysland Ludvigsen" userId="5cc2156a-4192-4fe6-8372-bcf947567e0f" providerId="ADAL" clId="{29604A7C-77EF-4D8C-A274-1EAA9DB0101B}" dt="2021-06-14T13:44:10.730" v="11890" actId="14100"/>
          <ac:spMkLst>
            <pc:docMk/>
            <pc:sldMk cId="1482334589" sldId="4127"/>
            <ac:spMk id="578" creationId="{9711FF03-DFCC-46F6-8FBF-D8C8ECAE6D83}"/>
          </ac:spMkLst>
        </pc:spChg>
        <pc:spChg chg="add mod ord">
          <ac:chgData name="Annette Ysland Ludvigsen" userId="5cc2156a-4192-4fe6-8372-bcf947567e0f" providerId="ADAL" clId="{29604A7C-77EF-4D8C-A274-1EAA9DB0101B}" dt="2021-06-14T13:44:12.361" v="11891" actId="14100"/>
          <ac:spMkLst>
            <pc:docMk/>
            <pc:sldMk cId="1482334589" sldId="4127"/>
            <ac:spMk id="579" creationId="{9CAFAD6D-4B48-4BAD-BE69-C0F3E15D695E}"/>
          </ac:spMkLst>
        </pc:spChg>
        <pc:spChg chg="add mod">
          <ac:chgData name="Annette Ysland Ludvigsen" userId="5cc2156a-4192-4fe6-8372-bcf947567e0f" providerId="ADAL" clId="{29604A7C-77EF-4D8C-A274-1EAA9DB0101B}" dt="2021-06-14T13:46:54.010" v="11932"/>
          <ac:spMkLst>
            <pc:docMk/>
            <pc:sldMk cId="1482334589" sldId="4127"/>
            <ac:spMk id="616" creationId="{A591B248-1496-4884-BE12-6824682F9D19}"/>
          </ac:spMkLst>
        </pc:spChg>
        <pc:spChg chg="add mod">
          <ac:chgData name="Annette Ysland Ludvigsen" userId="5cc2156a-4192-4fe6-8372-bcf947567e0f" providerId="ADAL" clId="{29604A7C-77EF-4D8C-A274-1EAA9DB0101B}" dt="2021-06-14T13:47:23.470" v="11960" actId="1076"/>
          <ac:spMkLst>
            <pc:docMk/>
            <pc:sldMk cId="1482334589" sldId="4127"/>
            <ac:spMk id="617" creationId="{10F9F601-C3CA-4EC2-872C-32B3804D4219}"/>
          </ac:spMkLst>
        </pc:spChg>
        <pc:spChg chg="add mod">
          <ac:chgData name="Annette Ysland Ludvigsen" userId="5cc2156a-4192-4fe6-8372-bcf947567e0f" providerId="ADAL" clId="{29604A7C-77EF-4D8C-A274-1EAA9DB0101B}" dt="2021-06-14T13:47:26.403" v="11969" actId="20577"/>
          <ac:spMkLst>
            <pc:docMk/>
            <pc:sldMk cId="1482334589" sldId="4127"/>
            <ac:spMk id="618" creationId="{925E4319-07BA-4F47-890D-890BF79EAC5A}"/>
          </ac:spMkLst>
        </pc:spChg>
        <pc:spChg chg="add mod">
          <ac:chgData name="Annette Ysland Ludvigsen" userId="5cc2156a-4192-4fe6-8372-bcf947567e0f" providerId="ADAL" clId="{29604A7C-77EF-4D8C-A274-1EAA9DB0101B}" dt="2021-06-14T13:47:34.491" v="11982" actId="1076"/>
          <ac:spMkLst>
            <pc:docMk/>
            <pc:sldMk cId="1482334589" sldId="4127"/>
            <ac:spMk id="619" creationId="{BB07C09F-E629-43D4-A4EF-64822389D76D}"/>
          </ac:spMkLst>
        </pc:spChg>
        <pc:graphicFrameChg chg="add del mod modGraphic">
          <ac:chgData name="Annette Ysland Ludvigsen" userId="5cc2156a-4192-4fe6-8372-bcf947567e0f" providerId="ADAL" clId="{29604A7C-77EF-4D8C-A274-1EAA9DB0101B}" dt="2021-06-14T13:31:41.327" v="11146" actId="478"/>
          <ac:graphicFrameMkLst>
            <pc:docMk/>
            <pc:sldMk cId="1482334589" sldId="4127"/>
            <ac:graphicFrameMk id="52" creationId="{37C37F69-6E09-4564-8F5C-6DF91D526ADE}"/>
          </ac:graphicFrameMkLst>
        </pc:graphicFrameChg>
        <pc:cxnChg chg="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35" creationId="{5D1E7FBA-2916-4634-AE71-F7E1EAEBF43F}"/>
          </ac:cxnSpMkLst>
        </pc:cxnChg>
        <pc:cxnChg chg="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38" creationId="{AFD6496C-5A92-4AE1-AD8C-16FBB9BD1C5E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40" creationId="{82F03CBA-58CE-4648-90A9-C422CD5EDD59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43" creationId="{3663CD86-9064-40AB-8D77-66F4053127D3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46" creationId="{E43FCCA0-ADAD-47CA-AEA5-8D2BBF72F80B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49" creationId="{3D361891-5D7E-45DD-AC1A-CED97D9F979A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53" creationId="{71040B2A-9E00-46AB-ACBB-D4F502176CB0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56" creationId="{D6FBFD19-D228-407C-AB9C-BB0E08BD916C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59" creationId="{3CE2A9D3-8728-458B-A994-C4AC36943785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62" creationId="{C5F3E329-C015-456F-A40A-496F1AE197D1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66" creationId="{241EF466-25D1-4498-9824-DEDE7F9A2976}"/>
          </ac:cxnSpMkLst>
        </pc:cxnChg>
        <pc:cxnChg chg="del mod">
          <ac:chgData name="Annette Ysland Ludvigsen" userId="5cc2156a-4192-4fe6-8372-bcf947567e0f" providerId="ADAL" clId="{29604A7C-77EF-4D8C-A274-1EAA9DB0101B}" dt="2021-06-14T13:17:38.769" v="10350" actId="478"/>
          <ac:cxnSpMkLst>
            <pc:docMk/>
            <pc:sldMk cId="1482334589" sldId="4127"/>
            <ac:cxnSpMk id="69" creationId="{04EEF422-5BB1-4EF6-8916-BAB3DFF567ED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72" creationId="{8ADD5798-FD46-4F85-A745-28868CD8A950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75" creationId="{D953850D-19FE-4A33-B76F-170116C2BD17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78" creationId="{D4A1017C-6B37-43D2-B9C2-32A93C7FFA29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81" creationId="{AD5A6409-0915-4E13-A038-8A4E4DFC7113}"/>
          </ac:cxnSpMkLst>
        </pc:cxnChg>
        <pc:cxnChg chg="del mod">
          <ac:chgData name="Annette Ysland Ludvigsen" userId="5cc2156a-4192-4fe6-8372-bcf947567e0f" providerId="ADAL" clId="{29604A7C-77EF-4D8C-A274-1EAA9DB0101B}" dt="2021-06-14T13:17:36.945" v="10349" actId="478"/>
          <ac:cxnSpMkLst>
            <pc:docMk/>
            <pc:sldMk cId="1482334589" sldId="4127"/>
            <ac:cxnSpMk id="84" creationId="{8FBCE0C4-AA80-4475-AE11-3AC92C2871DA}"/>
          </ac:cxnSpMkLst>
        </pc:cxnChg>
        <pc:cxnChg chg="del mod">
          <ac:chgData name="Annette Ysland Ludvigsen" userId="5cc2156a-4192-4fe6-8372-bcf947567e0f" providerId="ADAL" clId="{29604A7C-77EF-4D8C-A274-1EAA9DB0101B}" dt="2021-06-14T13:17:33.805" v="10348" actId="478"/>
          <ac:cxnSpMkLst>
            <pc:docMk/>
            <pc:sldMk cId="1482334589" sldId="4127"/>
            <ac:cxnSpMk id="87" creationId="{02B4ECB3-FCBB-4C18-ACAA-F8E188E4B46E}"/>
          </ac:cxnSpMkLst>
        </pc:cxnChg>
        <pc:cxnChg chg="del mod">
          <ac:chgData name="Annette Ysland Ludvigsen" userId="5cc2156a-4192-4fe6-8372-bcf947567e0f" providerId="ADAL" clId="{29604A7C-77EF-4D8C-A274-1EAA9DB0101B}" dt="2021-06-14T13:17:33.805" v="10348" actId="478"/>
          <ac:cxnSpMkLst>
            <pc:docMk/>
            <pc:sldMk cId="1482334589" sldId="4127"/>
            <ac:cxnSpMk id="90" creationId="{8EAD0122-4D12-4DB4-AA0A-8AC23649E87C}"/>
          </ac:cxnSpMkLst>
        </pc:cxnChg>
        <pc:cxnChg chg="del mod">
          <ac:chgData name="Annette Ysland Ludvigsen" userId="5cc2156a-4192-4fe6-8372-bcf947567e0f" providerId="ADAL" clId="{29604A7C-77EF-4D8C-A274-1EAA9DB0101B}" dt="2021-06-14T13:17:33.805" v="10348" actId="478"/>
          <ac:cxnSpMkLst>
            <pc:docMk/>
            <pc:sldMk cId="1482334589" sldId="4127"/>
            <ac:cxnSpMk id="93" creationId="{4A1F1F59-4CB7-415E-A542-4F9576B00D79}"/>
          </ac:cxnSpMkLst>
        </pc:cxnChg>
        <pc:cxnChg chg="del mod">
          <ac:chgData name="Annette Ysland Ludvigsen" userId="5cc2156a-4192-4fe6-8372-bcf947567e0f" providerId="ADAL" clId="{29604A7C-77EF-4D8C-A274-1EAA9DB0101B}" dt="2021-06-14T13:17:33.805" v="10348" actId="478"/>
          <ac:cxnSpMkLst>
            <pc:docMk/>
            <pc:sldMk cId="1482334589" sldId="4127"/>
            <ac:cxnSpMk id="102" creationId="{2EE697FB-1590-479F-A98E-F753BDD26458}"/>
          </ac:cxnSpMkLst>
        </pc:cxnChg>
        <pc:cxnChg chg="del mod">
          <ac:chgData name="Annette Ysland Ludvigsen" userId="5cc2156a-4192-4fe6-8372-bcf947567e0f" providerId="ADAL" clId="{29604A7C-77EF-4D8C-A274-1EAA9DB0101B}" dt="2021-06-14T13:17:33.805" v="10348" actId="478"/>
          <ac:cxnSpMkLst>
            <pc:docMk/>
            <pc:sldMk cId="1482334589" sldId="4127"/>
            <ac:cxnSpMk id="105" creationId="{4A31F040-7E5D-4297-B8AD-7F96AAAE849B}"/>
          </ac:cxnSpMkLst>
        </pc:cxnChg>
        <pc:cxnChg chg="add 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403" creationId="{FA9FFD72-F399-40B5-A629-4E357137A9E0}"/>
          </ac:cxnSpMkLst>
        </pc:cxnChg>
        <pc:cxnChg chg="add 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406" creationId="{02B347B0-3AC2-4D12-A5C3-96854F4B35E3}"/>
          </ac:cxnSpMkLst>
        </pc:cxnChg>
        <pc:cxnChg chg="add 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409" creationId="{55FB41D1-5979-4BFC-BC9A-852E14245AEE}"/>
          </ac:cxnSpMkLst>
        </pc:cxnChg>
        <pc:cxnChg chg="add mod">
          <ac:chgData name="Annette Ysland Ludvigsen" userId="5cc2156a-4192-4fe6-8372-bcf947567e0f" providerId="ADAL" clId="{29604A7C-77EF-4D8C-A274-1EAA9DB0101B}" dt="2021-06-14T13:45:14.629" v="11909" actId="14100"/>
          <ac:cxnSpMkLst>
            <pc:docMk/>
            <pc:sldMk cId="1482334589" sldId="4127"/>
            <ac:cxnSpMk id="416" creationId="{3898968F-0D32-4BE0-ADA8-30770F85B9CD}"/>
          </ac:cxnSpMkLst>
        </pc:cxnChg>
        <pc:cxnChg chg="add mod">
          <ac:chgData name="Annette Ysland Ludvigsen" userId="5cc2156a-4192-4fe6-8372-bcf947567e0f" providerId="ADAL" clId="{29604A7C-77EF-4D8C-A274-1EAA9DB0101B}" dt="2021-06-14T13:45:11.741" v="11908" actId="14100"/>
          <ac:cxnSpMkLst>
            <pc:docMk/>
            <pc:sldMk cId="1482334589" sldId="4127"/>
            <ac:cxnSpMk id="419" creationId="{F619F429-F861-4497-A3E1-880F95784A9A}"/>
          </ac:cxnSpMkLst>
        </pc:cxnChg>
        <pc:cxnChg chg="add mod">
          <ac:chgData name="Annette Ysland Ludvigsen" userId="5cc2156a-4192-4fe6-8372-bcf947567e0f" providerId="ADAL" clId="{29604A7C-77EF-4D8C-A274-1EAA9DB0101B}" dt="2021-06-14T13:45:17.654" v="11910" actId="14100"/>
          <ac:cxnSpMkLst>
            <pc:docMk/>
            <pc:sldMk cId="1482334589" sldId="4127"/>
            <ac:cxnSpMk id="420" creationId="{E96341F6-C002-446F-9555-0996EEC0C025}"/>
          </ac:cxnSpMkLst>
        </pc:cxnChg>
        <pc:cxnChg chg="add mod">
          <ac:chgData name="Annette Ysland Ludvigsen" userId="5cc2156a-4192-4fe6-8372-bcf947567e0f" providerId="ADAL" clId="{29604A7C-77EF-4D8C-A274-1EAA9DB0101B}" dt="2021-06-14T13:45:08.986" v="11907" actId="14100"/>
          <ac:cxnSpMkLst>
            <pc:docMk/>
            <pc:sldMk cId="1482334589" sldId="4127"/>
            <ac:cxnSpMk id="425" creationId="{C7A3AED2-C561-40AB-9EE5-DDD0C0C59060}"/>
          </ac:cxnSpMkLst>
        </pc:cxnChg>
        <pc:cxnChg chg="add mod">
          <ac:chgData name="Annette Ysland Ludvigsen" userId="5cc2156a-4192-4fe6-8372-bcf947567e0f" providerId="ADAL" clId="{29604A7C-77EF-4D8C-A274-1EAA9DB0101B}" dt="2021-06-14T13:45:24.068" v="11911" actId="14100"/>
          <ac:cxnSpMkLst>
            <pc:docMk/>
            <pc:sldMk cId="1482334589" sldId="4127"/>
            <ac:cxnSpMk id="428" creationId="{87D88754-9570-436F-B6A2-F6624DC76D3A}"/>
          </ac:cxnSpMkLst>
        </pc:cxnChg>
        <pc:cxnChg chg="add del mod">
          <ac:chgData name="Annette Ysland Ludvigsen" userId="5cc2156a-4192-4fe6-8372-bcf947567e0f" providerId="ADAL" clId="{29604A7C-77EF-4D8C-A274-1EAA9DB0101B}" dt="2021-06-14T13:23:21.580" v="10517"/>
          <ac:cxnSpMkLst>
            <pc:docMk/>
            <pc:sldMk cId="1482334589" sldId="4127"/>
            <ac:cxnSpMk id="431" creationId="{BD628DBB-2E6A-464B-BD81-72F59F72F71F}"/>
          </ac:cxnSpMkLst>
        </pc:cxnChg>
        <pc:cxnChg chg="add mod">
          <ac:chgData name="Annette Ysland Ludvigsen" userId="5cc2156a-4192-4fe6-8372-bcf947567e0f" providerId="ADAL" clId="{29604A7C-77EF-4D8C-A274-1EAA9DB0101B}" dt="2021-06-14T13:45:27.879" v="11912" actId="14100"/>
          <ac:cxnSpMkLst>
            <pc:docMk/>
            <pc:sldMk cId="1482334589" sldId="4127"/>
            <ac:cxnSpMk id="434" creationId="{545271CD-7047-4590-AEBD-DE58CAF5936D}"/>
          </ac:cxnSpMkLst>
        </pc:cxnChg>
        <pc:cxnChg chg="add mod">
          <ac:chgData name="Annette Ysland Ludvigsen" userId="5cc2156a-4192-4fe6-8372-bcf947567e0f" providerId="ADAL" clId="{29604A7C-77EF-4D8C-A274-1EAA9DB0101B}" dt="2021-06-14T13:45:55.931" v="11916" actId="14100"/>
          <ac:cxnSpMkLst>
            <pc:docMk/>
            <pc:sldMk cId="1482334589" sldId="4127"/>
            <ac:cxnSpMk id="437" creationId="{82F418E0-661B-4DA0-90C4-78058A7B2B5A}"/>
          </ac:cxnSpMkLst>
        </pc:cxnChg>
        <pc:cxnChg chg="add mod">
          <ac:chgData name="Annette Ysland Ludvigsen" userId="5cc2156a-4192-4fe6-8372-bcf947567e0f" providerId="ADAL" clId="{29604A7C-77EF-4D8C-A274-1EAA9DB0101B}" dt="2021-06-14T13:45:46.264" v="11914" actId="14100"/>
          <ac:cxnSpMkLst>
            <pc:docMk/>
            <pc:sldMk cId="1482334589" sldId="4127"/>
            <ac:cxnSpMk id="440" creationId="{60E148A4-A5EB-45D6-9828-2CF8D443C843}"/>
          </ac:cxnSpMkLst>
        </pc:cxnChg>
        <pc:cxnChg chg="add mod">
          <ac:chgData name="Annette Ysland Ludvigsen" userId="5cc2156a-4192-4fe6-8372-bcf947567e0f" providerId="ADAL" clId="{29604A7C-77EF-4D8C-A274-1EAA9DB0101B}" dt="2021-06-14T13:45:43.140" v="11913" actId="14100"/>
          <ac:cxnSpMkLst>
            <pc:docMk/>
            <pc:sldMk cId="1482334589" sldId="4127"/>
            <ac:cxnSpMk id="443" creationId="{389D2DCA-B306-4BBE-A955-30CB133F49CA}"/>
          </ac:cxnSpMkLst>
        </pc:cxnChg>
        <pc:cxnChg chg="add mod">
          <ac:chgData name="Annette Ysland Ludvigsen" userId="5cc2156a-4192-4fe6-8372-bcf947567e0f" providerId="ADAL" clId="{29604A7C-77EF-4D8C-A274-1EAA9DB0101B}" dt="2021-06-14T13:46:05.315" v="11918" actId="14100"/>
          <ac:cxnSpMkLst>
            <pc:docMk/>
            <pc:sldMk cId="1482334589" sldId="4127"/>
            <ac:cxnSpMk id="446" creationId="{988C2B93-E770-4C78-89B6-0AE332E93800}"/>
          </ac:cxnSpMkLst>
        </pc:cxnChg>
        <pc:cxnChg chg="add mod">
          <ac:chgData name="Annette Ysland Ludvigsen" userId="5cc2156a-4192-4fe6-8372-bcf947567e0f" providerId="ADAL" clId="{29604A7C-77EF-4D8C-A274-1EAA9DB0101B}" dt="2021-06-14T13:46:07.694" v="11919" actId="14100"/>
          <ac:cxnSpMkLst>
            <pc:docMk/>
            <pc:sldMk cId="1482334589" sldId="4127"/>
            <ac:cxnSpMk id="449" creationId="{2B6B2FA1-1EE4-484E-9AB5-46B3D80FC200}"/>
          </ac:cxnSpMkLst>
        </pc:cxnChg>
        <pc:cxnChg chg="add mod">
          <ac:chgData name="Annette Ysland Ludvigsen" userId="5cc2156a-4192-4fe6-8372-bcf947567e0f" providerId="ADAL" clId="{29604A7C-77EF-4D8C-A274-1EAA9DB0101B}" dt="2021-06-14T13:46:10.210" v="11920" actId="14100"/>
          <ac:cxnSpMkLst>
            <pc:docMk/>
            <pc:sldMk cId="1482334589" sldId="4127"/>
            <ac:cxnSpMk id="452" creationId="{45275073-A781-44FA-A572-4FBABD6F3215}"/>
          </ac:cxnSpMkLst>
        </pc:cxnChg>
        <pc:cxnChg chg="add mod">
          <ac:chgData name="Annette Ysland Ludvigsen" userId="5cc2156a-4192-4fe6-8372-bcf947567e0f" providerId="ADAL" clId="{29604A7C-77EF-4D8C-A274-1EAA9DB0101B}" dt="2021-06-14T13:46:14.054" v="11921" actId="14100"/>
          <ac:cxnSpMkLst>
            <pc:docMk/>
            <pc:sldMk cId="1482334589" sldId="4127"/>
            <ac:cxnSpMk id="455" creationId="{900A9E73-18F0-44DF-A1CE-393535531E71}"/>
          </ac:cxnSpMkLst>
        </pc:cxnChg>
        <pc:cxnChg chg="add mod">
          <ac:chgData name="Annette Ysland Ludvigsen" userId="5cc2156a-4192-4fe6-8372-bcf947567e0f" providerId="ADAL" clId="{29604A7C-77EF-4D8C-A274-1EAA9DB0101B}" dt="2021-06-14T13:46:16.583" v="11922" actId="14100"/>
          <ac:cxnSpMkLst>
            <pc:docMk/>
            <pc:sldMk cId="1482334589" sldId="4127"/>
            <ac:cxnSpMk id="458" creationId="{F130D529-B7BD-4EB6-9EF2-CB0B81FAD182}"/>
          </ac:cxnSpMkLst>
        </pc:cxnChg>
        <pc:cxnChg chg="add mod">
          <ac:chgData name="Annette Ysland Ludvigsen" userId="5cc2156a-4192-4fe6-8372-bcf947567e0f" providerId="ADAL" clId="{29604A7C-77EF-4D8C-A274-1EAA9DB0101B}" dt="2021-06-14T13:46:20.504" v="11923" actId="14100"/>
          <ac:cxnSpMkLst>
            <pc:docMk/>
            <pc:sldMk cId="1482334589" sldId="4127"/>
            <ac:cxnSpMk id="461" creationId="{947828DC-3453-47DD-9ADB-274E9D3591D8}"/>
          </ac:cxnSpMkLst>
        </pc:cxnChg>
        <pc:cxnChg chg="add mod">
          <ac:chgData name="Annette Ysland Ludvigsen" userId="5cc2156a-4192-4fe6-8372-bcf947567e0f" providerId="ADAL" clId="{29604A7C-77EF-4D8C-A274-1EAA9DB0101B}" dt="2021-06-14T13:46:23.206" v="11924" actId="14100"/>
          <ac:cxnSpMkLst>
            <pc:docMk/>
            <pc:sldMk cId="1482334589" sldId="4127"/>
            <ac:cxnSpMk id="464" creationId="{05E474E3-EE96-4A48-B143-656311D98D8C}"/>
          </ac:cxnSpMkLst>
        </pc:cxnChg>
        <pc:cxnChg chg="add mod">
          <ac:chgData name="Annette Ysland Ludvigsen" userId="5cc2156a-4192-4fe6-8372-bcf947567e0f" providerId="ADAL" clId="{29604A7C-77EF-4D8C-A274-1EAA9DB0101B}" dt="2021-06-14T13:46:25.867" v="11925" actId="14100"/>
          <ac:cxnSpMkLst>
            <pc:docMk/>
            <pc:sldMk cId="1482334589" sldId="4127"/>
            <ac:cxnSpMk id="467" creationId="{488F964B-753B-4A38-A074-AFB9948496F6}"/>
          </ac:cxnSpMkLst>
        </pc:cxnChg>
        <pc:cxnChg chg="add mod">
          <ac:chgData name="Annette Ysland Ludvigsen" userId="5cc2156a-4192-4fe6-8372-bcf947567e0f" providerId="ADAL" clId="{29604A7C-77EF-4D8C-A274-1EAA9DB0101B}" dt="2021-06-14T13:46:28.773" v="11926" actId="14100"/>
          <ac:cxnSpMkLst>
            <pc:docMk/>
            <pc:sldMk cId="1482334589" sldId="4127"/>
            <ac:cxnSpMk id="470" creationId="{1C3C5587-0493-472E-94ED-905C54126A87}"/>
          </ac:cxnSpMkLst>
        </pc:cxnChg>
        <pc:cxnChg chg="add mod">
          <ac:chgData name="Annette Ysland Ludvigsen" userId="5cc2156a-4192-4fe6-8372-bcf947567e0f" providerId="ADAL" clId="{29604A7C-77EF-4D8C-A274-1EAA9DB0101B}" dt="2021-06-14T13:46:31.568" v="11927" actId="14100"/>
          <ac:cxnSpMkLst>
            <pc:docMk/>
            <pc:sldMk cId="1482334589" sldId="4127"/>
            <ac:cxnSpMk id="473" creationId="{B632FAD0-9CB1-49B7-842C-004680C1E112}"/>
          </ac:cxnSpMkLst>
        </pc:cxnChg>
        <pc:cxnChg chg="add mod">
          <ac:chgData name="Annette Ysland Ludvigsen" userId="5cc2156a-4192-4fe6-8372-bcf947567e0f" providerId="ADAL" clId="{29604A7C-77EF-4D8C-A274-1EAA9DB0101B}" dt="2021-06-14T13:47:57.008" v="11983" actId="1076"/>
          <ac:cxnSpMkLst>
            <pc:docMk/>
            <pc:sldMk cId="1482334589" sldId="4127"/>
            <ac:cxnSpMk id="566" creationId="{38DD957F-BC27-496E-92F3-A86C719F6DE3}"/>
          </ac:cxnSpMkLst>
        </pc:cxnChg>
        <pc:cxnChg chg="add mod">
          <ac:chgData name="Annette Ysland Ludvigsen" userId="5cc2156a-4192-4fe6-8372-bcf947567e0f" providerId="ADAL" clId="{29604A7C-77EF-4D8C-A274-1EAA9DB0101B}" dt="2021-06-14T13:46:37.658" v="11929" actId="14100"/>
          <ac:cxnSpMkLst>
            <pc:docMk/>
            <pc:sldMk cId="1482334589" sldId="4127"/>
            <ac:cxnSpMk id="569" creationId="{E42474C1-E6F5-4E70-A206-51FD68CE2A35}"/>
          </ac:cxnSpMkLst>
        </pc:cxnChg>
        <pc:cxnChg chg="add mod">
          <ac:chgData name="Annette Ysland Ludvigsen" userId="5cc2156a-4192-4fe6-8372-bcf947567e0f" providerId="ADAL" clId="{29604A7C-77EF-4D8C-A274-1EAA9DB0101B}" dt="2021-06-14T13:46:34.342" v="11928" actId="14100"/>
          <ac:cxnSpMkLst>
            <pc:docMk/>
            <pc:sldMk cId="1482334589" sldId="4127"/>
            <ac:cxnSpMk id="572" creationId="{A4E72127-0C75-4AA7-A730-A64C2F96CC31}"/>
          </ac:cxnSpMkLst>
        </pc:cxnChg>
      </pc:sldChg>
      <pc:sldChg chg="addSp delSp modSp add mod ord">
        <pc:chgData name="Annette Ysland Ludvigsen" userId="5cc2156a-4192-4fe6-8372-bcf947567e0f" providerId="ADAL" clId="{29604A7C-77EF-4D8C-A274-1EAA9DB0101B}" dt="2021-06-14T13:46:48.919" v="11931" actId="1076"/>
        <pc:sldMkLst>
          <pc:docMk/>
          <pc:sldMk cId="4025255733" sldId="4128"/>
        </pc:sldMkLst>
        <pc:spChg chg="mod">
          <ac:chgData name="Annette Ysland Ludvigsen" userId="5cc2156a-4192-4fe6-8372-bcf947567e0f" providerId="ADAL" clId="{29604A7C-77EF-4D8C-A274-1EAA9DB0101B}" dt="2021-06-14T13:33:40.991" v="11185" actId="1076"/>
          <ac:spMkLst>
            <pc:docMk/>
            <pc:sldMk cId="4025255733" sldId="4128"/>
            <ac:spMk id="12" creationId="{9EEEA449-EF90-41DB-AAA1-71B83503D0AA}"/>
          </ac:spMkLst>
        </pc:spChg>
        <pc:spChg chg="mod">
          <ac:chgData name="Annette Ysland Ludvigsen" userId="5cc2156a-4192-4fe6-8372-bcf947567e0f" providerId="ADAL" clId="{29604A7C-77EF-4D8C-A274-1EAA9DB0101B}" dt="2021-06-14T13:38:42" v="11673" actId="207"/>
          <ac:spMkLst>
            <pc:docMk/>
            <pc:sldMk cId="4025255733" sldId="4128"/>
            <ac:spMk id="13" creationId="{1FBA5DFD-6801-4C7B-B1CA-79F7FC4B44A0}"/>
          </ac:spMkLst>
        </pc:spChg>
        <pc:spChg chg="del">
          <ac:chgData name="Annette Ysland Ludvigsen" userId="5cc2156a-4192-4fe6-8372-bcf947567e0f" providerId="ADAL" clId="{29604A7C-77EF-4D8C-A274-1EAA9DB0101B}" dt="2021-06-14T13:32:28.507" v="11154" actId="478"/>
          <ac:spMkLst>
            <pc:docMk/>
            <pc:sldMk cId="4025255733" sldId="4128"/>
            <ac:spMk id="28" creationId="{22AD6308-5498-4E48-BB0B-5066FE482164}"/>
          </ac:spMkLst>
        </pc:spChg>
        <pc:spChg chg="del">
          <ac:chgData name="Annette Ysland Ludvigsen" userId="5cc2156a-4192-4fe6-8372-bcf947567e0f" providerId="ADAL" clId="{29604A7C-77EF-4D8C-A274-1EAA9DB0101B}" dt="2021-06-14T13:32:26.124" v="11152" actId="478"/>
          <ac:spMkLst>
            <pc:docMk/>
            <pc:sldMk cId="4025255733" sldId="4128"/>
            <ac:spMk id="54" creationId="{99BC2B5F-5487-4015-82FD-30EE02EFA8E3}"/>
          </ac:spMkLst>
        </pc:spChg>
        <pc:spChg chg="del">
          <ac:chgData name="Annette Ysland Ludvigsen" userId="5cc2156a-4192-4fe6-8372-bcf947567e0f" providerId="ADAL" clId="{29604A7C-77EF-4D8C-A274-1EAA9DB0101B}" dt="2021-06-14T13:32:27.390" v="11153" actId="478"/>
          <ac:spMkLst>
            <pc:docMk/>
            <pc:sldMk cId="4025255733" sldId="4128"/>
            <ac:spMk id="63" creationId="{DE1288E1-1783-404A-BCC7-5793585A1EB6}"/>
          </ac:spMkLst>
        </pc:spChg>
        <pc:spChg chg="del">
          <ac:chgData name="Annette Ysland Ludvigsen" userId="5cc2156a-4192-4fe6-8372-bcf947567e0f" providerId="ADAL" clId="{29604A7C-77EF-4D8C-A274-1EAA9DB0101B}" dt="2021-06-14T13:32:25.293" v="11151" actId="478"/>
          <ac:spMkLst>
            <pc:docMk/>
            <pc:sldMk cId="4025255733" sldId="4128"/>
            <ac:spMk id="64" creationId="{EAB4AEF0-5B50-4502-BB8B-5A18204D8F5F}"/>
          </ac:spMkLst>
        </pc:spChg>
        <pc:spChg chg="add mod">
          <ac:chgData name="Annette Ysland Ludvigsen" userId="5cc2156a-4192-4fe6-8372-bcf947567e0f" providerId="ADAL" clId="{29604A7C-77EF-4D8C-A274-1EAA9DB0101B}" dt="2021-06-14T13:39:29.583" v="11722" actId="20577"/>
          <ac:spMkLst>
            <pc:docMk/>
            <pc:sldMk cId="4025255733" sldId="4128"/>
            <ac:spMk id="122" creationId="{A08538FC-46CB-4AFA-92BE-E6EB2C995F0B}"/>
          </ac:spMkLst>
        </pc:spChg>
        <pc:spChg chg="add mod">
          <ac:chgData name="Annette Ysland Ludvigsen" userId="5cc2156a-4192-4fe6-8372-bcf947567e0f" providerId="ADAL" clId="{29604A7C-77EF-4D8C-A274-1EAA9DB0101B}" dt="2021-06-14T13:39:41.747" v="11731" actId="20577"/>
          <ac:spMkLst>
            <pc:docMk/>
            <pc:sldMk cId="4025255733" sldId="4128"/>
            <ac:spMk id="123" creationId="{88016F43-90FE-46DB-A7E4-733125CB7413}"/>
          </ac:spMkLst>
        </pc:spChg>
        <pc:spChg chg="add mod">
          <ac:chgData name="Annette Ysland Ludvigsen" userId="5cc2156a-4192-4fe6-8372-bcf947567e0f" providerId="ADAL" clId="{29604A7C-77EF-4D8C-A274-1EAA9DB0101B}" dt="2021-06-14T13:39:49.777" v="11750" actId="20577"/>
          <ac:spMkLst>
            <pc:docMk/>
            <pc:sldMk cId="4025255733" sldId="4128"/>
            <ac:spMk id="124" creationId="{7AECF552-D2AA-48DD-803C-C3CDDF9E9006}"/>
          </ac:spMkLst>
        </pc:spChg>
        <pc:spChg chg="add mod">
          <ac:chgData name="Annette Ysland Ludvigsen" userId="5cc2156a-4192-4fe6-8372-bcf947567e0f" providerId="ADAL" clId="{29604A7C-77EF-4D8C-A274-1EAA9DB0101B}" dt="2021-06-14T13:40:59.657" v="11798" actId="1076"/>
          <ac:spMkLst>
            <pc:docMk/>
            <pc:sldMk cId="4025255733" sldId="4128"/>
            <ac:spMk id="134" creationId="{84BAE53F-E334-4874-BBE1-61E154EF79FE}"/>
          </ac:spMkLst>
        </pc:spChg>
        <pc:spChg chg="add mod">
          <ac:chgData name="Annette Ysland Ludvigsen" userId="5cc2156a-4192-4fe6-8372-bcf947567e0f" providerId="ADAL" clId="{29604A7C-77EF-4D8C-A274-1EAA9DB0101B}" dt="2021-06-14T13:40:59.657" v="11798" actId="1076"/>
          <ac:spMkLst>
            <pc:docMk/>
            <pc:sldMk cId="4025255733" sldId="4128"/>
            <ac:spMk id="135" creationId="{947A9CAF-9D8D-4E17-8C1A-9BE1BE68EDB2}"/>
          </ac:spMkLst>
        </pc:spChg>
        <pc:spChg chg="add mod ord">
          <ac:chgData name="Annette Ysland Ludvigsen" userId="5cc2156a-4192-4fe6-8372-bcf947567e0f" providerId="ADAL" clId="{29604A7C-77EF-4D8C-A274-1EAA9DB0101B}" dt="2021-06-14T13:42:52.370" v="11856" actId="1076"/>
          <ac:spMkLst>
            <pc:docMk/>
            <pc:sldMk cId="4025255733" sldId="4128"/>
            <ac:spMk id="167" creationId="{A7AC2C23-C3F2-458D-B933-0D008B031162}"/>
          </ac:spMkLst>
        </pc:spChg>
        <pc:spChg chg="add mod ord">
          <ac:chgData name="Annette Ysland Ludvigsen" userId="5cc2156a-4192-4fe6-8372-bcf947567e0f" providerId="ADAL" clId="{29604A7C-77EF-4D8C-A274-1EAA9DB0101B}" dt="2021-06-14T13:42:14.681" v="11819" actId="14100"/>
          <ac:spMkLst>
            <pc:docMk/>
            <pc:sldMk cId="4025255733" sldId="4128"/>
            <ac:spMk id="168" creationId="{5CA5A2A1-11FE-4B34-820A-589A60792D44}"/>
          </ac:spMkLst>
        </pc:spChg>
        <pc:spChg chg="add mod ord">
          <ac:chgData name="Annette Ysland Ludvigsen" userId="5cc2156a-4192-4fe6-8372-bcf947567e0f" providerId="ADAL" clId="{29604A7C-77EF-4D8C-A274-1EAA9DB0101B}" dt="2021-06-14T13:42:12.112" v="11818" actId="14100"/>
          <ac:spMkLst>
            <pc:docMk/>
            <pc:sldMk cId="4025255733" sldId="4128"/>
            <ac:spMk id="169" creationId="{A7BCA86E-7DF4-4028-92A4-11E593C6A574}"/>
          </ac:spMkLst>
        </pc:spChg>
        <pc:spChg chg="add mod">
          <ac:chgData name="Annette Ysland Ludvigsen" userId="5cc2156a-4192-4fe6-8372-bcf947567e0f" providerId="ADAL" clId="{29604A7C-77EF-4D8C-A274-1EAA9DB0101B}" dt="2021-06-14T13:42:55.974" v="11857" actId="1076"/>
          <ac:spMkLst>
            <pc:docMk/>
            <pc:sldMk cId="4025255733" sldId="4128"/>
            <ac:spMk id="171" creationId="{90534D7A-B11C-4EE8-9D5D-9720911F00E3}"/>
          </ac:spMkLst>
        </pc:spChg>
        <pc:spChg chg="add mod">
          <ac:chgData name="Annette Ysland Ludvigsen" userId="5cc2156a-4192-4fe6-8372-bcf947567e0f" providerId="ADAL" clId="{29604A7C-77EF-4D8C-A274-1EAA9DB0101B}" dt="2021-06-14T13:43:04.792" v="11870" actId="20577"/>
          <ac:spMkLst>
            <pc:docMk/>
            <pc:sldMk cId="4025255733" sldId="4128"/>
            <ac:spMk id="172" creationId="{0C436787-F67B-414E-8AEC-6B4C36F43ECE}"/>
          </ac:spMkLst>
        </pc:spChg>
        <pc:spChg chg="add mod">
          <ac:chgData name="Annette Ysland Ludvigsen" userId="5cc2156a-4192-4fe6-8372-bcf947567e0f" providerId="ADAL" clId="{29604A7C-77EF-4D8C-A274-1EAA9DB0101B}" dt="2021-06-14T13:43:08.174" v="11881" actId="20577"/>
          <ac:spMkLst>
            <pc:docMk/>
            <pc:sldMk cId="4025255733" sldId="4128"/>
            <ac:spMk id="173" creationId="{54657A7B-9281-48BE-AEA7-CB62137E8469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78" creationId="{497BA549-D5A3-4248-A6B0-838537E6CAC0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79" creationId="{4399FBFC-06CC-4C78-88F6-6E41348EF25B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80" creationId="{AFEAB75E-53F1-4DF6-A356-A04C820C967A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81" creationId="{F7F115BC-0D23-496A-B393-72E0A8C49B93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82" creationId="{A95503AB-E690-4961-96A3-B87E56835226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83" creationId="{E828BC33-5353-49BF-B065-DA16A64EA643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84" creationId="{D538E79F-C45A-4708-9566-077B43CC3B29}"/>
          </ac:spMkLst>
        </pc:spChg>
        <pc:spChg chg="del mod">
          <ac:chgData name="Annette Ysland Ludvigsen" userId="5cc2156a-4192-4fe6-8372-bcf947567e0f" providerId="ADAL" clId="{29604A7C-77EF-4D8C-A274-1EAA9DB0101B}" dt="2021-06-14T13:36:40.678" v="11441" actId="478"/>
          <ac:spMkLst>
            <pc:docMk/>
            <pc:sldMk cId="4025255733" sldId="4128"/>
            <ac:spMk id="385" creationId="{653D844D-1042-483F-A464-D1BCB3A2EEDC}"/>
          </ac:spMkLst>
        </pc:spChg>
        <pc:spChg chg="del">
          <ac:chgData name="Annette Ysland Ludvigsen" userId="5cc2156a-4192-4fe6-8372-bcf947567e0f" providerId="ADAL" clId="{29604A7C-77EF-4D8C-A274-1EAA9DB0101B}" dt="2021-06-14T13:33:17.015" v="11172" actId="478"/>
          <ac:spMkLst>
            <pc:docMk/>
            <pc:sldMk cId="4025255733" sldId="4128"/>
            <ac:spMk id="386" creationId="{B345B32F-38F4-44D6-B50E-7AAF60E1BCBB}"/>
          </ac:spMkLst>
        </pc:spChg>
        <pc:spChg chg="del">
          <ac:chgData name="Annette Ysland Ludvigsen" userId="5cc2156a-4192-4fe6-8372-bcf947567e0f" providerId="ADAL" clId="{29604A7C-77EF-4D8C-A274-1EAA9DB0101B}" dt="2021-06-14T13:33:17.508" v="11173" actId="478"/>
          <ac:spMkLst>
            <pc:docMk/>
            <pc:sldMk cId="4025255733" sldId="4128"/>
            <ac:spMk id="387" creationId="{B958144D-1AFB-4AF6-BDF5-FDE22BE081C3}"/>
          </ac:spMkLst>
        </pc:spChg>
        <pc:spChg chg="del">
          <ac:chgData name="Annette Ysland Ludvigsen" userId="5cc2156a-4192-4fe6-8372-bcf947567e0f" providerId="ADAL" clId="{29604A7C-77EF-4D8C-A274-1EAA9DB0101B}" dt="2021-06-14T13:33:17.976" v="11174" actId="478"/>
          <ac:spMkLst>
            <pc:docMk/>
            <pc:sldMk cId="4025255733" sldId="4128"/>
            <ac:spMk id="388" creationId="{B6D8BD3D-4767-4D67-8322-E423B6F0F675}"/>
          </ac:spMkLst>
        </pc:spChg>
        <pc:spChg chg="del">
          <ac:chgData name="Annette Ysland Ludvigsen" userId="5cc2156a-4192-4fe6-8372-bcf947567e0f" providerId="ADAL" clId="{29604A7C-77EF-4D8C-A274-1EAA9DB0101B}" dt="2021-06-14T13:33:18.481" v="11175" actId="478"/>
          <ac:spMkLst>
            <pc:docMk/>
            <pc:sldMk cId="4025255733" sldId="4128"/>
            <ac:spMk id="389" creationId="{6CA56D6F-E4D1-471D-944C-F0E2F69003B9}"/>
          </ac:spMkLst>
        </pc:spChg>
        <pc:spChg chg="del">
          <ac:chgData name="Annette Ysland Ludvigsen" userId="5cc2156a-4192-4fe6-8372-bcf947567e0f" providerId="ADAL" clId="{29604A7C-77EF-4D8C-A274-1EAA9DB0101B}" dt="2021-06-14T13:33:18.972" v="11176" actId="478"/>
          <ac:spMkLst>
            <pc:docMk/>
            <pc:sldMk cId="4025255733" sldId="4128"/>
            <ac:spMk id="390" creationId="{050211B8-131A-4E62-A634-75B5E86A32D7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91" creationId="{65ECA1EF-9B39-4D1D-8305-4BBF8F08E673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92" creationId="{F53825E8-5907-418E-96AB-DE0534A90D38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93" creationId="{8A50A012-948C-4AD3-A90B-13ECEFEF3D01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94" creationId="{D326C445-FED9-404D-A793-52BB9BE0F11A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395" creationId="{B60A3700-4CCA-4E26-80B6-20D252A05C2E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400" creationId="{19B900C6-7567-4872-9F96-694D52F8E0DD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499" creationId="{38BA52DF-34ED-400C-9B2F-927B78EF1A8B}"/>
          </ac:spMkLst>
        </pc:spChg>
        <pc:spChg chg="mod">
          <ac:chgData name="Annette Ysland Ludvigsen" userId="5cc2156a-4192-4fe6-8372-bcf947567e0f" providerId="ADAL" clId="{29604A7C-77EF-4D8C-A274-1EAA9DB0101B}" dt="2021-06-14T13:40:56.066" v="11797" actId="1076"/>
          <ac:spMkLst>
            <pc:docMk/>
            <pc:sldMk cId="4025255733" sldId="4128"/>
            <ac:spMk id="500" creationId="{E76D3907-85CC-4AFE-8C4E-733C44D13B85}"/>
          </ac:spMkLst>
        </pc:spChg>
        <pc:spChg chg="add mod ord">
          <ac:chgData name="Annette Ysland Ludvigsen" userId="5cc2156a-4192-4fe6-8372-bcf947567e0f" providerId="ADAL" clId="{29604A7C-77EF-4D8C-A274-1EAA9DB0101B}" dt="2021-06-14T13:42:25.732" v="11825" actId="20577"/>
          <ac:spMkLst>
            <pc:docMk/>
            <pc:sldMk cId="4025255733" sldId="4128"/>
            <ac:spMk id="503" creationId="{CEEB8AB5-A668-4F96-8EE1-C567695DF2E4}"/>
          </ac:spMkLst>
        </pc:spChg>
        <pc:spChg chg="add mod">
          <ac:chgData name="Annette Ysland Ludvigsen" userId="5cc2156a-4192-4fe6-8372-bcf947567e0f" providerId="ADAL" clId="{29604A7C-77EF-4D8C-A274-1EAA9DB0101B}" dt="2021-06-14T13:46:48.919" v="11931" actId="1076"/>
          <ac:spMkLst>
            <pc:docMk/>
            <pc:sldMk cId="4025255733" sldId="4128"/>
            <ac:spMk id="504" creationId="{1C53934C-B3CE-4DE7-A61E-AFA588D652D8}"/>
          </ac:spMkLst>
        </pc:spChg>
        <pc:spChg chg="mod">
          <ac:chgData name="Annette Ysland Ludvigsen" userId="5cc2156a-4192-4fe6-8372-bcf947567e0f" providerId="ADAL" clId="{29604A7C-77EF-4D8C-A274-1EAA9DB0101B}" dt="2021-06-14T13:39:02.496" v="11677" actId="207"/>
          <ac:spMkLst>
            <pc:docMk/>
            <pc:sldMk cId="4025255733" sldId="4128"/>
            <ac:spMk id="562" creationId="{D8B69CD4-B059-41FB-AC64-1BDA3219354E}"/>
          </ac:spMkLst>
        </pc:spChg>
        <pc:cxnChg chg="mod">
          <ac:chgData name="Annette Ysland Ludvigsen" userId="5cc2156a-4192-4fe6-8372-bcf947567e0f" providerId="ADAL" clId="{29604A7C-77EF-4D8C-A274-1EAA9DB0101B}" dt="2021-06-14T13:34:57.668" v="11215" actId="20577"/>
          <ac:cxnSpMkLst>
            <pc:docMk/>
            <pc:sldMk cId="4025255733" sldId="4128"/>
            <ac:cxnSpMk id="35" creationId="{5D1E7FBA-2916-4634-AE71-F7E1EAEBF43F}"/>
          </ac:cxnSpMkLst>
        </pc:cxnChg>
        <pc:cxnChg chg="del mod">
          <ac:chgData name="Annette Ysland Ludvigsen" userId="5cc2156a-4192-4fe6-8372-bcf947567e0f" providerId="ADAL" clId="{29604A7C-77EF-4D8C-A274-1EAA9DB0101B}" dt="2021-06-14T13:32:31.388" v="11156" actId="478"/>
          <ac:cxnSpMkLst>
            <pc:docMk/>
            <pc:sldMk cId="4025255733" sldId="4128"/>
            <ac:cxnSpMk id="38" creationId="{AFD6496C-5A92-4AE1-AD8C-16FBB9BD1C5E}"/>
          </ac:cxnSpMkLst>
        </pc:cxnChg>
        <pc:cxnChg chg="add 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125" creationId="{C809E2C5-B3A4-4052-B7CE-57010C6B7D27}"/>
          </ac:cxnSpMkLst>
        </pc:cxnChg>
        <pc:cxnChg chg="add 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128" creationId="{43F25810-6D8C-4D1E-B9D4-1C640C40C172}"/>
          </ac:cxnSpMkLst>
        </pc:cxnChg>
        <pc:cxnChg chg="add 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131" creationId="{FB64B794-A6E6-4C85-BE9F-49FA04E81D8A}"/>
          </ac:cxnSpMkLst>
        </pc:cxnChg>
        <pc:cxnChg chg="add mod">
          <ac:chgData name="Annette Ysland Ludvigsen" userId="5cc2156a-4192-4fe6-8372-bcf947567e0f" providerId="ADAL" clId="{29604A7C-77EF-4D8C-A274-1EAA9DB0101B}" dt="2021-06-14T13:40:59.657" v="11798" actId="1076"/>
          <ac:cxnSpMkLst>
            <pc:docMk/>
            <pc:sldMk cId="4025255733" sldId="4128"/>
            <ac:cxnSpMk id="136" creationId="{E1042028-D2DC-491C-A5ED-8D89E7CD2185}"/>
          </ac:cxnSpMkLst>
        </pc:cxnChg>
        <pc:cxnChg chg="add mod">
          <ac:chgData name="Annette Ysland Ludvigsen" userId="5cc2156a-4192-4fe6-8372-bcf947567e0f" providerId="ADAL" clId="{29604A7C-77EF-4D8C-A274-1EAA9DB0101B}" dt="2021-06-14T13:40:59.657" v="11798" actId="1076"/>
          <ac:cxnSpMkLst>
            <pc:docMk/>
            <pc:sldMk cId="4025255733" sldId="4128"/>
            <ac:cxnSpMk id="139" creationId="{A31669D5-3239-4618-8AE1-3B2AB347EDA2}"/>
          </ac:cxnSpMkLst>
        </pc:cxnChg>
        <pc:cxnChg chg="del mod">
          <ac:chgData name="Annette Ysland Ludvigsen" userId="5cc2156a-4192-4fe6-8372-bcf947567e0f" providerId="ADAL" clId="{29604A7C-77EF-4D8C-A274-1EAA9DB0101B}" dt="2021-06-14T13:32:30.083" v="11155" actId="478"/>
          <ac:cxnSpMkLst>
            <pc:docMk/>
            <pc:sldMk cId="4025255733" sldId="4128"/>
            <ac:cxnSpMk id="403" creationId="{FA9FFD72-F399-40B5-A629-4E357137A9E0}"/>
          </ac:cxnSpMkLst>
        </pc:cxnChg>
        <pc:cxnChg chg="del mod">
          <ac:chgData name="Annette Ysland Ludvigsen" userId="5cc2156a-4192-4fe6-8372-bcf947567e0f" providerId="ADAL" clId="{29604A7C-77EF-4D8C-A274-1EAA9DB0101B}" dt="2021-06-14T13:32:32.168" v="11157" actId="478"/>
          <ac:cxnSpMkLst>
            <pc:docMk/>
            <pc:sldMk cId="4025255733" sldId="4128"/>
            <ac:cxnSpMk id="406" creationId="{02B347B0-3AC2-4D12-A5C3-96854F4B35E3}"/>
          </ac:cxnSpMkLst>
        </pc:cxnChg>
        <pc:cxnChg chg="del mod">
          <ac:chgData name="Annette Ysland Ludvigsen" userId="5cc2156a-4192-4fe6-8372-bcf947567e0f" providerId="ADAL" clId="{29604A7C-77EF-4D8C-A274-1EAA9DB0101B}" dt="2021-06-14T13:32:33.382" v="11158" actId="478"/>
          <ac:cxnSpMkLst>
            <pc:docMk/>
            <pc:sldMk cId="4025255733" sldId="4128"/>
            <ac:cxnSpMk id="409" creationId="{55FB41D1-5979-4BFC-BC9A-852E14245AEE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16" creationId="{3898968F-0D32-4BE0-ADA8-30770F85B9CD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19" creationId="{F619F429-F861-4497-A3E1-880F95784A9A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20" creationId="{E96341F6-C002-446F-9555-0996EEC0C025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25" creationId="{C7A3AED2-C561-40AB-9EE5-DDD0C0C59060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28" creationId="{87D88754-9570-436F-B6A2-F6624DC76D3A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34" creationId="{545271CD-7047-4590-AEBD-DE58CAF5936D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37" creationId="{82F418E0-661B-4DA0-90C4-78058A7B2B5A}"/>
          </ac:cxnSpMkLst>
        </pc:cxnChg>
        <pc:cxnChg chg="del mod">
          <ac:chgData name="Annette Ysland Ludvigsen" userId="5cc2156a-4192-4fe6-8372-bcf947567e0f" providerId="ADAL" clId="{29604A7C-77EF-4D8C-A274-1EAA9DB0101B}" dt="2021-06-14T13:36:41.887" v="11442" actId="478"/>
          <ac:cxnSpMkLst>
            <pc:docMk/>
            <pc:sldMk cId="4025255733" sldId="4128"/>
            <ac:cxnSpMk id="440" creationId="{60E148A4-A5EB-45D6-9828-2CF8D443C843}"/>
          </ac:cxnSpMkLst>
        </pc:cxnChg>
        <pc:cxnChg chg="del mod">
          <ac:chgData name="Annette Ysland Ludvigsen" userId="5cc2156a-4192-4fe6-8372-bcf947567e0f" providerId="ADAL" clId="{29604A7C-77EF-4D8C-A274-1EAA9DB0101B}" dt="2021-06-14T13:33:04.964" v="11168" actId="478"/>
          <ac:cxnSpMkLst>
            <pc:docMk/>
            <pc:sldMk cId="4025255733" sldId="4128"/>
            <ac:cxnSpMk id="443" creationId="{389D2DCA-B306-4BBE-A955-30CB133F49CA}"/>
          </ac:cxnSpMkLst>
        </pc:cxnChg>
        <pc:cxnChg chg="del mod">
          <ac:chgData name="Annette Ysland Ludvigsen" userId="5cc2156a-4192-4fe6-8372-bcf947567e0f" providerId="ADAL" clId="{29604A7C-77EF-4D8C-A274-1EAA9DB0101B}" dt="2021-06-14T13:33:21.463" v="11180" actId="478"/>
          <ac:cxnSpMkLst>
            <pc:docMk/>
            <pc:sldMk cId="4025255733" sldId="4128"/>
            <ac:cxnSpMk id="446" creationId="{988C2B93-E770-4C78-89B6-0AE332E93800}"/>
          </ac:cxnSpMkLst>
        </pc:cxnChg>
        <pc:cxnChg chg="del mod">
          <ac:chgData name="Annette Ysland Ludvigsen" userId="5cc2156a-4192-4fe6-8372-bcf947567e0f" providerId="ADAL" clId="{29604A7C-77EF-4D8C-A274-1EAA9DB0101B}" dt="2021-06-14T13:33:21.034" v="11179" actId="478"/>
          <ac:cxnSpMkLst>
            <pc:docMk/>
            <pc:sldMk cId="4025255733" sldId="4128"/>
            <ac:cxnSpMk id="449" creationId="{2B6B2FA1-1EE4-484E-9AB5-46B3D80FC200}"/>
          </ac:cxnSpMkLst>
        </pc:cxnChg>
        <pc:cxnChg chg="del mod">
          <ac:chgData name="Annette Ysland Ludvigsen" userId="5cc2156a-4192-4fe6-8372-bcf947567e0f" providerId="ADAL" clId="{29604A7C-77EF-4D8C-A274-1EAA9DB0101B}" dt="2021-06-14T13:33:20.375" v="11178" actId="478"/>
          <ac:cxnSpMkLst>
            <pc:docMk/>
            <pc:sldMk cId="4025255733" sldId="4128"/>
            <ac:cxnSpMk id="452" creationId="{45275073-A781-44FA-A572-4FBABD6F3215}"/>
          </ac:cxnSpMkLst>
        </pc:cxnChg>
        <pc:cxnChg chg="del mod">
          <ac:chgData name="Annette Ysland Ludvigsen" userId="5cc2156a-4192-4fe6-8372-bcf947567e0f" providerId="ADAL" clId="{29604A7C-77EF-4D8C-A274-1EAA9DB0101B}" dt="2021-06-14T13:33:19.796" v="11177" actId="478"/>
          <ac:cxnSpMkLst>
            <pc:docMk/>
            <pc:sldMk cId="4025255733" sldId="4128"/>
            <ac:cxnSpMk id="455" creationId="{900A9E73-18F0-44DF-A1CE-393535531E71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58" creationId="{F130D529-B7BD-4EB6-9EF2-CB0B81FAD182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61" creationId="{947828DC-3453-47DD-9ADB-274E9D3591D8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64" creationId="{05E474E3-EE96-4A48-B143-656311D98D8C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67" creationId="{488F964B-753B-4A38-A074-AFB9948496F6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70" creationId="{1C3C5587-0493-472E-94ED-905C54126A87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473" creationId="{B632FAD0-9CB1-49B7-842C-004680C1E112}"/>
          </ac:cxnSpMkLst>
        </pc:cxnChg>
        <pc:cxnChg chg="mod">
          <ac:chgData name="Annette Ysland Ludvigsen" userId="5cc2156a-4192-4fe6-8372-bcf947567e0f" providerId="ADAL" clId="{29604A7C-77EF-4D8C-A274-1EAA9DB0101B}" dt="2021-06-14T13:35:04.105" v="11235" actId="20577"/>
          <ac:cxnSpMkLst>
            <pc:docMk/>
            <pc:sldMk cId="4025255733" sldId="4128"/>
            <ac:cxnSpMk id="566" creationId="{38DD957F-BC27-496E-92F3-A86C719F6DE3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569" creationId="{E42474C1-E6F5-4E70-A206-51FD68CE2A35}"/>
          </ac:cxnSpMkLst>
        </pc:cxnChg>
        <pc:cxnChg chg="mod">
          <ac:chgData name="Annette Ysland Ludvigsen" userId="5cc2156a-4192-4fe6-8372-bcf947567e0f" providerId="ADAL" clId="{29604A7C-77EF-4D8C-A274-1EAA9DB0101B}" dt="2021-06-14T13:40:56.066" v="11797" actId="1076"/>
          <ac:cxnSpMkLst>
            <pc:docMk/>
            <pc:sldMk cId="4025255733" sldId="4128"/>
            <ac:cxnSpMk id="572" creationId="{A4E72127-0C75-4AA7-A730-A64C2F96CC31}"/>
          </ac:cxnSpMkLst>
        </pc:cxnChg>
      </pc:sldChg>
    </pc:docChg>
  </pc:docChgLst>
  <pc:docChgLst>
    <pc:chgData name="Annette Ysland Ludvigsen" userId="5cc2156a-4192-4fe6-8372-bcf947567e0f" providerId="ADAL" clId="{83C5B975-F26D-414E-9131-DF85FD8BC002}"/>
    <pc:docChg chg="undo custSel addSld delSld modSld sldOrd addSection delSection modSection">
      <pc:chgData name="Annette Ysland Ludvigsen" userId="5cc2156a-4192-4fe6-8372-bcf947567e0f" providerId="ADAL" clId="{83C5B975-F26D-414E-9131-DF85FD8BC002}" dt="2021-06-23T06:41:48.726" v="5483" actId="27636"/>
      <pc:docMkLst>
        <pc:docMk/>
      </pc:docMkLst>
      <pc:sldChg chg="addSp delSp modSp mod">
        <pc:chgData name="Annette Ysland Ludvigsen" userId="5cc2156a-4192-4fe6-8372-bcf947567e0f" providerId="ADAL" clId="{83C5B975-F26D-414E-9131-DF85FD8BC002}" dt="2021-06-17T12:34:41.617" v="4264" actId="1076"/>
        <pc:sldMkLst>
          <pc:docMk/>
          <pc:sldMk cId="1246628772" sldId="256"/>
        </pc:sldMkLst>
        <pc:spChg chg="mod ord">
          <ac:chgData name="Annette Ysland Ludvigsen" userId="5cc2156a-4192-4fe6-8372-bcf947567e0f" providerId="ADAL" clId="{83C5B975-F26D-414E-9131-DF85FD8BC002}" dt="2021-06-17T12:34:41.617" v="4264" actId="1076"/>
          <ac:spMkLst>
            <pc:docMk/>
            <pc:sldMk cId="1246628772" sldId="256"/>
            <ac:spMk id="2" creationId="{54896ED6-4AAF-43F7-85C6-1416EF434EA5}"/>
          </ac:spMkLst>
        </pc:spChg>
        <pc:spChg chg="del mod ord">
          <ac:chgData name="Annette Ysland Ludvigsen" userId="5cc2156a-4192-4fe6-8372-bcf947567e0f" providerId="ADAL" clId="{83C5B975-F26D-414E-9131-DF85FD8BC002}" dt="2021-06-17T12:34:12.826" v="4245" actId="478"/>
          <ac:spMkLst>
            <pc:docMk/>
            <pc:sldMk cId="1246628772" sldId="256"/>
            <ac:spMk id="3" creationId="{1798C838-81F3-4427-BE65-6F53168D170C}"/>
          </ac:spMkLst>
        </pc:spChg>
        <pc:spChg chg="add del mod">
          <ac:chgData name="Annette Ysland Ludvigsen" userId="5cc2156a-4192-4fe6-8372-bcf947567e0f" providerId="ADAL" clId="{83C5B975-F26D-414E-9131-DF85FD8BC002}" dt="2021-06-17T12:34:29.769" v="4262" actId="478"/>
          <ac:spMkLst>
            <pc:docMk/>
            <pc:sldMk cId="1246628772" sldId="256"/>
            <ac:spMk id="6" creationId="{1922978D-2906-46B4-964A-13046E58112D}"/>
          </ac:spMkLst>
        </pc:spChg>
        <pc:picChg chg="mod">
          <ac:chgData name="Annette Ysland Ludvigsen" userId="5cc2156a-4192-4fe6-8372-bcf947567e0f" providerId="ADAL" clId="{83C5B975-F26D-414E-9131-DF85FD8BC002}" dt="2021-06-16T11:46:19.161" v="2889" actId="1076"/>
          <ac:picMkLst>
            <pc:docMk/>
            <pc:sldMk cId="1246628772" sldId="256"/>
            <ac:picMk id="4" creationId="{BAAD8A63-2146-4574-8DC1-FA6C557EA04E}"/>
          </ac:picMkLst>
        </pc:picChg>
        <pc:picChg chg="add mod">
          <ac:chgData name="Annette Ysland Ludvigsen" userId="5cc2156a-4192-4fe6-8372-bcf947567e0f" providerId="ADAL" clId="{83C5B975-F26D-414E-9131-DF85FD8BC002}" dt="2021-06-16T11:46:22.796" v="2890" actId="1076"/>
          <ac:picMkLst>
            <pc:docMk/>
            <pc:sldMk cId="1246628772" sldId="256"/>
            <ac:picMk id="7" creationId="{3F731FB9-408E-47F0-960E-C83C479D4E00}"/>
          </ac:picMkLst>
        </pc:picChg>
      </pc:sldChg>
      <pc:sldChg chg="modSp del mod">
        <pc:chgData name="Annette Ysland Ludvigsen" userId="5cc2156a-4192-4fe6-8372-bcf947567e0f" providerId="ADAL" clId="{83C5B975-F26D-414E-9131-DF85FD8BC002}" dt="2021-06-23T06:15:01.895" v="5468" actId="47"/>
        <pc:sldMkLst>
          <pc:docMk/>
          <pc:sldMk cId="2013551255" sldId="257"/>
        </pc:sldMkLst>
        <pc:spChg chg="mod">
          <ac:chgData name="Annette Ysland Ludvigsen" userId="5cc2156a-4192-4fe6-8372-bcf947567e0f" providerId="ADAL" clId="{83C5B975-F26D-414E-9131-DF85FD8BC002}" dt="2021-06-21T05:27:29.486" v="4542" actId="20577"/>
          <ac:spMkLst>
            <pc:docMk/>
            <pc:sldMk cId="2013551255" sldId="257"/>
            <ac:spMk id="3" creationId="{8DC01FD6-0AD1-4A5B-BAF8-D626709A700C}"/>
          </ac:spMkLst>
        </pc:spChg>
      </pc:sldChg>
      <pc:sldChg chg="modSp mod">
        <pc:chgData name="Annette Ysland Ludvigsen" userId="5cc2156a-4192-4fe6-8372-bcf947567e0f" providerId="ADAL" clId="{83C5B975-F26D-414E-9131-DF85FD8BC002}" dt="2021-06-21T19:59:04.976" v="5207" actId="27636"/>
        <pc:sldMkLst>
          <pc:docMk/>
          <pc:sldMk cId="281909073" sldId="263"/>
        </pc:sldMkLst>
        <pc:spChg chg="mod">
          <ac:chgData name="Annette Ysland Ludvigsen" userId="5cc2156a-4192-4fe6-8372-bcf947567e0f" providerId="ADAL" clId="{83C5B975-F26D-414E-9131-DF85FD8BC002}" dt="2021-06-21T19:59:04.976" v="5207" actId="27636"/>
          <ac:spMkLst>
            <pc:docMk/>
            <pc:sldMk cId="281909073" sldId="263"/>
            <ac:spMk id="3" creationId="{EDE1B92B-B0DF-45D1-9A50-84189FB7892D}"/>
          </ac:spMkLst>
        </pc:spChg>
      </pc:sldChg>
      <pc:sldChg chg="addSp modSp mod">
        <pc:chgData name="Annette Ysland Ludvigsen" userId="5cc2156a-4192-4fe6-8372-bcf947567e0f" providerId="ADAL" clId="{83C5B975-F26D-414E-9131-DF85FD8BC002}" dt="2021-06-16T12:19:50.630" v="3844" actId="14100"/>
        <pc:sldMkLst>
          <pc:docMk/>
          <pc:sldMk cId="2799685735" sldId="272"/>
        </pc:sldMkLst>
        <pc:spChg chg="mod ord">
          <ac:chgData name="Annette Ysland Ludvigsen" userId="5cc2156a-4192-4fe6-8372-bcf947567e0f" providerId="ADAL" clId="{83C5B975-F26D-414E-9131-DF85FD8BC002}" dt="2021-06-16T12:19:50.630" v="3844" actId="14100"/>
          <ac:spMkLst>
            <pc:docMk/>
            <pc:sldMk cId="2799685735" sldId="272"/>
            <ac:spMk id="4" creationId="{00000000-0000-0000-0000-000000000000}"/>
          </ac:spMkLst>
        </pc:spChg>
        <pc:picChg chg="add mod">
          <ac:chgData name="Annette Ysland Ludvigsen" userId="5cc2156a-4192-4fe6-8372-bcf947567e0f" providerId="ADAL" clId="{83C5B975-F26D-414E-9131-DF85FD8BC002}" dt="2021-06-16T12:19:38.848" v="3839" actId="1076"/>
          <ac:picMkLst>
            <pc:docMk/>
            <pc:sldMk cId="2799685735" sldId="272"/>
            <ac:picMk id="6" creationId="{373FB021-FDE8-46FC-9B89-6276CBA5DE0E}"/>
          </ac:picMkLst>
        </pc:picChg>
      </pc:sldChg>
      <pc:sldChg chg="addSp delSp modSp mod">
        <pc:chgData name="Annette Ysland Ludvigsen" userId="5cc2156a-4192-4fe6-8372-bcf947567e0f" providerId="ADAL" clId="{83C5B975-F26D-414E-9131-DF85FD8BC002}" dt="2021-06-16T12:20:23.517" v="3868" actId="1076"/>
        <pc:sldMkLst>
          <pc:docMk/>
          <pc:sldMk cId="1093552661" sldId="273"/>
        </pc:sldMkLst>
        <pc:spChg chg="del">
          <ac:chgData name="Annette Ysland Ludvigsen" userId="5cc2156a-4192-4fe6-8372-bcf947567e0f" providerId="ADAL" clId="{83C5B975-F26D-414E-9131-DF85FD8BC002}" dt="2021-06-16T12:20:19.631" v="3866" actId="478"/>
          <ac:spMkLst>
            <pc:docMk/>
            <pc:sldMk cId="1093552661" sldId="273"/>
            <ac:spMk id="2" creationId="{00000000-0000-0000-0000-000000000000}"/>
          </ac:spMkLst>
        </pc:spChg>
        <pc:spChg chg="add mod">
          <ac:chgData name="Annette Ysland Ludvigsen" userId="5cc2156a-4192-4fe6-8372-bcf947567e0f" providerId="ADAL" clId="{83C5B975-F26D-414E-9131-DF85FD8BC002}" dt="2021-06-16T12:20:15.620" v="3864" actId="20577"/>
          <ac:spMkLst>
            <pc:docMk/>
            <pc:sldMk cId="1093552661" sldId="273"/>
            <ac:spMk id="5" creationId="{36781D80-9225-4863-9643-48DFD5589D97}"/>
          </ac:spMkLst>
        </pc:spChg>
        <pc:spChg chg="add del mod">
          <ac:chgData name="Annette Ysland Ludvigsen" userId="5cc2156a-4192-4fe6-8372-bcf947567e0f" providerId="ADAL" clId="{83C5B975-F26D-414E-9131-DF85FD8BC002}" dt="2021-06-16T12:20:21.523" v="3867" actId="478"/>
          <ac:spMkLst>
            <pc:docMk/>
            <pc:sldMk cId="1093552661" sldId="273"/>
            <ac:spMk id="7" creationId="{5AD5E1B5-CFE6-4D3C-9EBD-E656073B946E}"/>
          </ac:spMkLst>
        </pc:spChg>
        <pc:picChg chg="add mod">
          <ac:chgData name="Annette Ysland Ludvigsen" userId="5cc2156a-4192-4fe6-8372-bcf947567e0f" providerId="ADAL" clId="{83C5B975-F26D-414E-9131-DF85FD8BC002}" dt="2021-06-16T12:20:23.517" v="3868" actId="1076"/>
          <ac:picMkLst>
            <pc:docMk/>
            <pc:sldMk cId="1093552661" sldId="273"/>
            <ac:picMk id="4" creationId="{7617069C-1AF0-4E2E-8928-C65E19DB2B29}"/>
          </ac:picMkLst>
        </pc:picChg>
      </pc:sldChg>
      <pc:sldChg chg="addSp delSp modSp mod addAnim delAnim modAnim">
        <pc:chgData name="Annette Ysland Ludvigsen" userId="5cc2156a-4192-4fe6-8372-bcf947567e0f" providerId="ADAL" clId="{83C5B975-F26D-414E-9131-DF85FD8BC002}" dt="2021-06-21T05:37:54.492" v="4566" actId="11529"/>
        <pc:sldMkLst>
          <pc:docMk/>
          <pc:sldMk cId="41577761" sldId="280"/>
        </pc:sldMkLst>
        <pc:spChg chg="del">
          <ac:chgData name="Annette Ysland Ludvigsen" userId="5cc2156a-4192-4fe6-8372-bcf947567e0f" providerId="ADAL" clId="{83C5B975-F26D-414E-9131-DF85FD8BC002}" dt="2021-06-16T10:58:40.339" v="1758" actId="478"/>
          <ac:spMkLst>
            <pc:docMk/>
            <pc:sldMk cId="41577761" sldId="280"/>
            <ac:spMk id="2" creationId="{00000000-0000-0000-0000-000000000000}"/>
          </ac:spMkLst>
        </pc:spChg>
        <pc:spChg chg="add del mod">
          <ac:chgData name="Annette Ysland Ludvigsen" userId="5cc2156a-4192-4fe6-8372-bcf947567e0f" providerId="ADAL" clId="{83C5B975-F26D-414E-9131-DF85FD8BC002}" dt="2021-06-21T05:37:54.492" v="4566" actId="11529"/>
          <ac:spMkLst>
            <pc:docMk/>
            <pc:sldMk cId="41577761" sldId="280"/>
            <ac:spMk id="2" creationId="{9AC6B518-D660-402F-9B28-30E2E6B3B977}"/>
          </ac:spMkLst>
        </pc:spChg>
        <pc:spChg chg="add del mod">
          <ac:chgData name="Annette Ysland Ludvigsen" userId="5cc2156a-4192-4fe6-8372-bcf947567e0f" providerId="ADAL" clId="{83C5B975-F26D-414E-9131-DF85FD8BC002}" dt="2021-06-16T11:14:35.550" v="2261" actId="11529"/>
          <ac:spMkLst>
            <pc:docMk/>
            <pc:sldMk cId="41577761" sldId="280"/>
            <ac:spMk id="3" creationId="{06E95B42-F6CE-4151-9278-12084B8907C5}"/>
          </ac:spMkLst>
        </pc:spChg>
        <pc:spChg chg="mod ord">
          <ac:chgData name="Annette Ysland Ludvigsen" userId="5cc2156a-4192-4fe6-8372-bcf947567e0f" providerId="ADAL" clId="{83C5B975-F26D-414E-9131-DF85FD8BC002}" dt="2021-06-16T11:10:02.872" v="2229" actId="20577"/>
          <ac:spMkLst>
            <pc:docMk/>
            <pc:sldMk cId="41577761" sldId="280"/>
            <ac:spMk id="7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15:23.268" v="2284" actId="1076"/>
          <ac:spMkLst>
            <pc:docMk/>
            <pc:sldMk cId="41577761" sldId="280"/>
            <ac:spMk id="28" creationId="{1B73FFB3-1691-49FF-B309-E67BFDC227E2}"/>
          </ac:spMkLst>
        </pc:spChg>
        <pc:spChg chg="mod">
          <ac:chgData name="Annette Ysland Ludvigsen" userId="5cc2156a-4192-4fe6-8372-bcf947567e0f" providerId="ADAL" clId="{83C5B975-F26D-414E-9131-DF85FD8BC002}" dt="2021-06-16T11:15:20.688" v="2283" actId="1076"/>
          <ac:spMkLst>
            <pc:docMk/>
            <pc:sldMk cId="41577761" sldId="280"/>
            <ac:spMk id="41" creationId="{48F53D11-6902-4400-A246-F9C2C910ECBC}"/>
          </ac:spMkLst>
        </pc:spChg>
        <pc:spChg chg="del">
          <ac:chgData name="Annette Ysland Ludvigsen" userId="5cc2156a-4192-4fe6-8372-bcf947567e0f" providerId="ADAL" clId="{83C5B975-F26D-414E-9131-DF85FD8BC002}" dt="2021-06-16T11:18:54.007" v="2356" actId="478"/>
          <ac:spMkLst>
            <pc:docMk/>
            <pc:sldMk cId="41577761" sldId="280"/>
            <ac:spMk id="43" creationId="{D5230231-B9F4-46CA-AEC9-B82D6A203933}"/>
          </ac:spMkLst>
        </pc:spChg>
        <pc:spChg chg="add mod">
          <ac:chgData name="Annette Ysland Ludvigsen" userId="5cc2156a-4192-4fe6-8372-bcf947567e0f" providerId="ADAL" clId="{83C5B975-F26D-414E-9131-DF85FD8BC002}" dt="2021-06-17T08:12:37.997" v="3948" actId="14100"/>
          <ac:spMkLst>
            <pc:docMk/>
            <pc:sldMk cId="41577761" sldId="280"/>
            <ac:spMk id="51" creationId="{559C4A41-C037-4D2B-9B35-B692D6A155B3}"/>
          </ac:spMkLst>
        </pc:spChg>
        <pc:spChg chg="mod">
          <ac:chgData name="Annette Ysland Ludvigsen" userId="5cc2156a-4192-4fe6-8372-bcf947567e0f" providerId="ADAL" clId="{83C5B975-F26D-414E-9131-DF85FD8BC002}" dt="2021-06-17T08:12:27.443" v="3944" actId="14100"/>
          <ac:spMkLst>
            <pc:docMk/>
            <pc:sldMk cId="41577761" sldId="280"/>
            <ac:spMk id="52" creationId="{00000000-0000-0000-0000-000000000000}"/>
          </ac:spMkLst>
        </pc:spChg>
        <pc:spChg chg="add del mod ord">
          <ac:chgData name="Annette Ysland Ludvigsen" userId="5cc2156a-4192-4fe6-8372-bcf947567e0f" providerId="ADAL" clId="{83C5B975-F26D-414E-9131-DF85FD8BC002}" dt="2021-06-16T11:14:45.984" v="2275" actId="478"/>
          <ac:spMkLst>
            <pc:docMk/>
            <pc:sldMk cId="41577761" sldId="280"/>
            <ac:spMk id="55" creationId="{C911A888-FC4E-4597-98BD-F367459A56F4}"/>
          </ac:spMkLst>
        </pc:spChg>
        <pc:spChg chg="add del mod">
          <ac:chgData name="Annette Ysland Ludvigsen" userId="5cc2156a-4192-4fe6-8372-bcf947567e0f" providerId="ADAL" clId="{83C5B975-F26D-414E-9131-DF85FD8BC002}" dt="2021-06-16T11:14:41.210" v="2272"/>
          <ac:spMkLst>
            <pc:docMk/>
            <pc:sldMk cId="41577761" sldId="280"/>
            <ac:spMk id="56" creationId="{1800466B-41CB-4280-80D8-B8A8C7DD8713}"/>
          </ac:spMkLst>
        </pc:spChg>
        <pc:spChg chg="mod">
          <ac:chgData name="Annette Ysland Ludvigsen" userId="5cc2156a-4192-4fe6-8372-bcf947567e0f" providerId="ADAL" clId="{83C5B975-F26D-414E-9131-DF85FD8BC002}" dt="2021-06-16T11:14:37.220" v="2267" actId="14100"/>
          <ac:spMkLst>
            <pc:docMk/>
            <pc:sldMk cId="41577761" sldId="280"/>
            <ac:spMk id="59" creationId="{00000000-0000-0000-0000-000000000000}"/>
          </ac:spMkLst>
        </pc:spChg>
        <pc:spChg chg="add del">
          <ac:chgData name="Annette Ysland Ludvigsen" userId="5cc2156a-4192-4fe6-8372-bcf947567e0f" providerId="ADAL" clId="{83C5B975-F26D-414E-9131-DF85FD8BC002}" dt="2021-06-16T11:14:49.140" v="2276" actId="478"/>
          <ac:spMkLst>
            <pc:docMk/>
            <pc:sldMk cId="41577761" sldId="280"/>
            <ac:spMk id="60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9:37.531" v="2221" actId="1076"/>
          <ac:spMkLst>
            <pc:docMk/>
            <pc:sldMk cId="41577761" sldId="280"/>
            <ac:spMk id="61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46:48.255" v="2893" actId="113"/>
          <ac:spMkLst>
            <pc:docMk/>
            <pc:sldMk cId="41577761" sldId="280"/>
            <ac:spMk id="112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19:01.589" v="2358" actId="20577"/>
          <ac:spMkLst>
            <pc:docMk/>
            <pc:sldMk cId="41577761" sldId="280"/>
            <ac:spMk id="113" creationId="{0FC9E4D4-DE55-4588-BEBD-80201151A4F7}"/>
          </ac:spMkLst>
        </pc:spChg>
        <pc:spChg chg="mod">
          <ac:chgData name="Annette Ysland Ludvigsen" userId="5cc2156a-4192-4fe6-8372-bcf947567e0f" providerId="ADAL" clId="{83C5B975-F26D-414E-9131-DF85FD8BC002}" dt="2021-06-16T11:15:25.550" v="2285" actId="1076"/>
          <ac:spMkLst>
            <pc:docMk/>
            <pc:sldMk cId="41577761" sldId="280"/>
            <ac:spMk id="119" creationId="{927E45B1-55D6-4DCA-8D33-60B6B42E7B06}"/>
          </ac:spMkLst>
        </pc:spChg>
        <pc:picChg chg="add mod ord">
          <ac:chgData name="Annette Ysland Ludvigsen" userId="5cc2156a-4192-4fe6-8372-bcf947567e0f" providerId="ADAL" clId="{83C5B975-F26D-414E-9131-DF85FD8BC002}" dt="2021-06-16T11:15:57.405" v="2325" actId="1076"/>
          <ac:picMkLst>
            <pc:docMk/>
            <pc:sldMk cId="41577761" sldId="280"/>
            <ac:picMk id="57" creationId="{8F094FEA-5044-46CE-8197-F69963A30D83}"/>
          </ac:picMkLst>
        </pc:picChg>
      </pc:sldChg>
      <pc:sldChg chg="addSp delSp modSp mod delAnim modAnim">
        <pc:chgData name="Annette Ysland Ludvigsen" userId="5cc2156a-4192-4fe6-8372-bcf947567e0f" providerId="ADAL" clId="{83C5B975-F26D-414E-9131-DF85FD8BC002}" dt="2021-06-18T06:27:50.295" v="4407" actId="208"/>
        <pc:sldMkLst>
          <pc:docMk/>
          <pc:sldMk cId="3478682997" sldId="454"/>
        </pc:sldMkLst>
        <pc:spChg chg="mod">
          <ac:chgData name="Annette Ysland Ludvigsen" userId="5cc2156a-4192-4fe6-8372-bcf947567e0f" providerId="ADAL" clId="{83C5B975-F26D-414E-9131-DF85FD8BC002}" dt="2021-06-16T12:04:59.782" v="3233" actId="207"/>
          <ac:spMkLst>
            <pc:docMk/>
            <pc:sldMk cId="3478682997" sldId="454"/>
            <ac:spMk id="2" creationId="{E5C9B854-707F-4B3A-9F1C-618F99DC78C3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6" creationId="{A858E4A6-D8FF-4210-B98B-D39B74417C13}"/>
          </ac:spMkLst>
        </pc:spChg>
        <pc:spChg chg="mod">
          <ac:chgData name="Annette Ysland Ludvigsen" userId="5cc2156a-4192-4fe6-8372-bcf947567e0f" providerId="ADAL" clId="{83C5B975-F26D-414E-9131-DF85FD8BC002}" dt="2021-06-17T09:09:53.486" v="4158" actId="20577"/>
          <ac:spMkLst>
            <pc:docMk/>
            <pc:sldMk cId="3478682997" sldId="454"/>
            <ac:spMk id="7" creationId="{30BF763B-A1AB-4C3A-8235-E0FDC32D0DF8}"/>
          </ac:spMkLst>
        </pc:spChg>
        <pc:spChg chg="mod">
          <ac:chgData name="Annette Ysland Ludvigsen" userId="5cc2156a-4192-4fe6-8372-bcf947567e0f" providerId="ADAL" clId="{83C5B975-F26D-414E-9131-DF85FD8BC002}" dt="2021-06-16T08:55:32.856" v="1378" actId="14100"/>
          <ac:spMkLst>
            <pc:docMk/>
            <pc:sldMk cId="3478682997" sldId="454"/>
            <ac:spMk id="8" creationId="{9F96E1A8-C4A0-44F7-9C4C-5E211DB9F004}"/>
          </ac:spMkLst>
        </pc:spChg>
        <pc:spChg chg="del mod">
          <ac:chgData name="Annette Ysland Ludvigsen" userId="5cc2156a-4192-4fe6-8372-bcf947567e0f" providerId="ADAL" clId="{83C5B975-F26D-414E-9131-DF85FD8BC002}" dt="2021-06-16T08:50:22.032" v="1236" actId="478"/>
          <ac:spMkLst>
            <pc:docMk/>
            <pc:sldMk cId="3478682997" sldId="454"/>
            <ac:spMk id="10" creationId="{4F591DC4-40A1-4D0A-88D2-01131C9ED6B7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11" creationId="{72DC8BC9-2891-4D5E-B211-0E07409663F5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13" creationId="{91CE0883-8A71-4D1A-99AB-B6A1C7D405FA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14" creationId="{F180D6E2-B4B9-4681-953A-AF1970076952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15" creationId="{328D584E-E2BA-4859-B92A-EDFFEAB99FDE}"/>
          </ac:spMkLst>
        </pc:spChg>
        <pc:spChg chg="mod">
          <ac:chgData name="Annette Ysland Ludvigsen" userId="5cc2156a-4192-4fe6-8372-bcf947567e0f" providerId="ADAL" clId="{83C5B975-F26D-414E-9131-DF85FD8BC002}" dt="2021-06-16T08:50:02.566" v="1230"/>
          <ac:spMkLst>
            <pc:docMk/>
            <pc:sldMk cId="3478682997" sldId="454"/>
            <ac:spMk id="16" creationId="{A724BE17-2C2D-4B27-9B15-96B017932ECD}"/>
          </ac:spMkLst>
        </pc:spChg>
        <pc:spChg chg="del mod">
          <ac:chgData name="Annette Ysland Ludvigsen" userId="5cc2156a-4192-4fe6-8372-bcf947567e0f" providerId="ADAL" clId="{83C5B975-F26D-414E-9131-DF85FD8BC002}" dt="2021-06-16T08:50:16.978" v="1235" actId="478"/>
          <ac:spMkLst>
            <pc:docMk/>
            <pc:sldMk cId="3478682997" sldId="454"/>
            <ac:spMk id="24" creationId="{FF6DF5CB-E483-4D5B-88AC-45EDF86816C2}"/>
          </ac:spMkLst>
        </pc:spChg>
        <pc:spChg chg="add del mod">
          <ac:chgData name="Annette Ysland Ludvigsen" userId="5cc2156a-4192-4fe6-8372-bcf947567e0f" providerId="ADAL" clId="{83C5B975-F26D-414E-9131-DF85FD8BC002}" dt="2021-06-16T08:50:10.764" v="1232" actId="478"/>
          <ac:spMkLst>
            <pc:docMk/>
            <pc:sldMk cId="3478682997" sldId="454"/>
            <ac:spMk id="25" creationId="{755C676D-BC95-4B7E-8325-E22DA4758B91}"/>
          </ac:spMkLst>
        </pc:spChg>
        <pc:spChg chg="add mod">
          <ac:chgData name="Annette Ysland Ludvigsen" userId="5cc2156a-4192-4fe6-8372-bcf947567e0f" providerId="ADAL" clId="{83C5B975-F26D-414E-9131-DF85FD8BC002}" dt="2021-06-16T08:53:56.492" v="1302" actId="14100"/>
          <ac:spMkLst>
            <pc:docMk/>
            <pc:sldMk cId="3478682997" sldId="454"/>
            <ac:spMk id="26" creationId="{F26D80A9-7CDD-433B-AECA-AB9908AD2C80}"/>
          </ac:spMkLst>
        </pc:spChg>
        <pc:spChg chg="add mod">
          <ac:chgData name="Annette Ysland Ludvigsen" userId="5cc2156a-4192-4fe6-8372-bcf947567e0f" providerId="ADAL" clId="{83C5B975-F26D-414E-9131-DF85FD8BC002}" dt="2021-06-18T06:27:30.350" v="4401" actId="1076"/>
          <ac:spMkLst>
            <pc:docMk/>
            <pc:sldMk cId="3478682997" sldId="454"/>
            <ac:spMk id="27" creationId="{01732492-5C2D-444E-A60F-BD6E0616472C}"/>
          </ac:spMkLst>
        </pc:spChg>
        <pc:spChg chg="add mod">
          <ac:chgData name="Annette Ysland Ludvigsen" userId="5cc2156a-4192-4fe6-8372-bcf947567e0f" providerId="ADAL" clId="{83C5B975-F26D-414E-9131-DF85FD8BC002}" dt="2021-06-18T06:26:10.650" v="4370" actId="20577"/>
          <ac:spMkLst>
            <pc:docMk/>
            <pc:sldMk cId="3478682997" sldId="454"/>
            <ac:spMk id="28" creationId="{2BC36532-633F-4683-9ABF-2B606CFEA78F}"/>
          </ac:spMkLst>
        </pc:spChg>
        <pc:spChg chg="add mod">
          <ac:chgData name="Annette Ysland Ludvigsen" userId="5cc2156a-4192-4fe6-8372-bcf947567e0f" providerId="ADAL" clId="{83C5B975-F26D-414E-9131-DF85FD8BC002}" dt="2021-06-16T08:51:51.152" v="1283" actId="1076"/>
          <ac:spMkLst>
            <pc:docMk/>
            <pc:sldMk cId="3478682997" sldId="454"/>
            <ac:spMk id="29" creationId="{EE48BE06-CDDA-4E98-B626-8EBE12FBA29D}"/>
          </ac:spMkLst>
        </pc:spChg>
        <pc:spChg chg="add mod">
          <ac:chgData name="Annette Ysland Ludvigsen" userId="5cc2156a-4192-4fe6-8372-bcf947567e0f" providerId="ADAL" clId="{83C5B975-F26D-414E-9131-DF85FD8BC002}" dt="2021-06-18T06:26:07.803" v="4369" actId="20577"/>
          <ac:spMkLst>
            <pc:docMk/>
            <pc:sldMk cId="3478682997" sldId="454"/>
            <ac:spMk id="30" creationId="{E99AFDAE-5230-4100-9433-301D0D51847A}"/>
          </ac:spMkLst>
        </pc:spChg>
        <pc:spChg chg="add mod">
          <ac:chgData name="Annette Ysland Ludvigsen" userId="5cc2156a-4192-4fe6-8372-bcf947567e0f" providerId="ADAL" clId="{83C5B975-F26D-414E-9131-DF85FD8BC002}" dt="2021-06-18T06:26:06.520" v="4368" actId="20577"/>
          <ac:spMkLst>
            <pc:docMk/>
            <pc:sldMk cId="3478682997" sldId="454"/>
            <ac:spMk id="31" creationId="{40ECF8A9-325A-4A91-A81F-81D255C94A64}"/>
          </ac:spMkLst>
        </pc:spChg>
        <pc:spChg chg="add mod">
          <ac:chgData name="Annette Ysland Ludvigsen" userId="5cc2156a-4192-4fe6-8372-bcf947567e0f" providerId="ADAL" clId="{83C5B975-F26D-414E-9131-DF85FD8BC002}" dt="2021-06-16T08:53:59.358" v="1303" actId="14100"/>
          <ac:spMkLst>
            <pc:docMk/>
            <pc:sldMk cId="3478682997" sldId="454"/>
            <ac:spMk id="32" creationId="{8D42B159-8C37-4083-933B-E571460E0567}"/>
          </ac:spMkLst>
        </pc:spChg>
        <pc:spChg chg="add mod">
          <ac:chgData name="Annette Ysland Ludvigsen" userId="5cc2156a-4192-4fe6-8372-bcf947567e0f" providerId="ADAL" clId="{83C5B975-F26D-414E-9131-DF85FD8BC002}" dt="2021-06-17T09:10:04.075" v="4167" actId="20577"/>
          <ac:spMkLst>
            <pc:docMk/>
            <pc:sldMk cId="3478682997" sldId="454"/>
            <ac:spMk id="33" creationId="{49751DBA-432E-4FC7-9425-13095621EC88}"/>
          </ac:spMkLst>
        </pc:spChg>
        <pc:spChg chg="add mod">
          <ac:chgData name="Annette Ysland Ludvigsen" userId="5cc2156a-4192-4fe6-8372-bcf947567e0f" providerId="ADAL" clId="{83C5B975-F26D-414E-9131-DF85FD8BC002}" dt="2021-06-18T06:25:09.660" v="4353" actId="20577"/>
          <ac:spMkLst>
            <pc:docMk/>
            <pc:sldMk cId="3478682997" sldId="454"/>
            <ac:spMk id="37" creationId="{E6C8BC6E-EFA1-4AE3-B79A-D94CB734E5D0}"/>
          </ac:spMkLst>
        </pc:spChg>
        <pc:spChg chg="add mod">
          <ac:chgData name="Annette Ysland Ludvigsen" userId="5cc2156a-4192-4fe6-8372-bcf947567e0f" providerId="ADAL" clId="{83C5B975-F26D-414E-9131-DF85FD8BC002}" dt="2021-06-16T09:50:46.616" v="1507" actId="1076"/>
          <ac:spMkLst>
            <pc:docMk/>
            <pc:sldMk cId="3478682997" sldId="454"/>
            <ac:spMk id="54" creationId="{A26A1403-FD8D-4607-BA43-CF0180084C17}"/>
          </ac:spMkLst>
        </pc:spChg>
        <pc:spChg chg="add mod">
          <ac:chgData name="Annette Ysland Ludvigsen" userId="5cc2156a-4192-4fe6-8372-bcf947567e0f" providerId="ADAL" clId="{83C5B975-F26D-414E-9131-DF85FD8BC002}" dt="2021-06-16T09:50:40.633" v="1506" actId="1076"/>
          <ac:spMkLst>
            <pc:docMk/>
            <pc:sldMk cId="3478682997" sldId="454"/>
            <ac:spMk id="55" creationId="{072A4EA7-EE51-47B5-BD5D-DD16A4F0729F}"/>
          </ac:spMkLst>
        </pc:spChg>
        <pc:spChg chg="add mod">
          <ac:chgData name="Annette Ysland Ludvigsen" userId="5cc2156a-4192-4fe6-8372-bcf947567e0f" providerId="ADAL" clId="{83C5B975-F26D-414E-9131-DF85FD8BC002}" dt="2021-06-16T09:50:34.963" v="1505" actId="14100"/>
          <ac:spMkLst>
            <pc:docMk/>
            <pc:sldMk cId="3478682997" sldId="454"/>
            <ac:spMk id="56" creationId="{7779429F-313C-4507-B1AA-7DC8BD0E0C53}"/>
          </ac:spMkLst>
        </pc:spChg>
        <pc:spChg chg="add mod">
          <ac:chgData name="Annette Ysland Ludvigsen" userId="5cc2156a-4192-4fe6-8372-bcf947567e0f" providerId="ADAL" clId="{83C5B975-F26D-414E-9131-DF85FD8BC002}" dt="2021-06-16T09:50:32.547" v="1504" actId="1076"/>
          <ac:spMkLst>
            <pc:docMk/>
            <pc:sldMk cId="3478682997" sldId="454"/>
            <ac:spMk id="57" creationId="{75CE720A-2E21-4026-8CCB-E396D7155859}"/>
          </ac:spMkLst>
        </pc:spChg>
        <pc:spChg chg="add mod">
          <ac:chgData name="Annette Ysland Ludvigsen" userId="5cc2156a-4192-4fe6-8372-bcf947567e0f" providerId="ADAL" clId="{83C5B975-F26D-414E-9131-DF85FD8BC002}" dt="2021-06-16T12:17:01.986" v="3746" actId="14100"/>
          <ac:spMkLst>
            <pc:docMk/>
            <pc:sldMk cId="3478682997" sldId="454"/>
            <ac:spMk id="59" creationId="{8EE06053-E957-42C7-94E9-56F76DE878BF}"/>
          </ac:spMkLst>
        </pc:spChg>
        <pc:grpChg chg="add mod">
          <ac:chgData name="Annette Ysland Ludvigsen" userId="5cc2156a-4192-4fe6-8372-bcf947567e0f" providerId="ADAL" clId="{83C5B975-F26D-414E-9131-DF85FD8BC002}" dt="2021-06-18T06:25:48.980" v="4357" actId="1076"/>
          <ac:grpSpMkLst>
            <pc:docMk/>
            <pc:sldMk cId="3478682997" sldId="454"/>
            <ac:grpSpMk id="5" creationId="{0A988E82-A4F0-4BB9-8DB6-F8285CBF231A}"/>
          </ac:grpSpMkLst>
        </pc:grpChg>
        <pc:picChg chg="del">
          <ac:chgData name="Annette Ysland Ludvigsen" userId="5cc2156a-4192-4fe6-8372-bcf947567e0f" providerId="ADAL" clId="{83C5B975-F26D-414E-9131-DF85FD8BC002}" dt="2021-06-16T08:50:01.667" v="1229" actId="478"/>
          <ac:picMkLst>
            <pc:docMk/>
            <pc:sldMk cId="3478682997" sldId="454"/>
            <ac:picMk id="12" creationId="{9547D3F7-8F16-4F3B-BBD9-6D541350A3D6}"/>
          </ac:picMkLst>
        </pc:picChg>
        <pc:picChg chg="add mod ord">
          <ac:chgData name="Annette Ysland Ludvigsen" userId="5cc2156a-4192-4fe6-8372-bcf947567e0f" providerId="ADAL" clId="{83C5B975-F26D-414E-9131-DF85FD8BC002}" dt="2021-06-16T12:04:51.924" v="3230" actId="167"/>
          <ac:picMkLst>
            <pc:docMk/>
            <pc:sldMk cId="3478682997" sldId="454"/>
            <ac:picMk id="58" creationId="{61F11443-189B-4375-9F26-0F4A3E97F074}"/>
          </ac:picMkLst>
        </pc:picChg>
        <pc:cxnChg chg="del mod">
          <ac:chgData name="Annette Ysland Ludvigsen" userId="5cc2156a-4192-4fe6-8372-bcf947567e0f" providerId="ADAL" clId="{83C5B975-F26D-414E-9131-DF85FD8BC002}" dt="2021-06-16T08:51:11.078" v="1273" actId="478"/>
          <ac:cxnSpMkLst>
            <pc:docMk/>
            <pc:sldMk cId="3478682997" sldId="454"/>
            <ac:cxnSpMk id="9" creationId="{1199A144-36F5-4CB8-8DB2-31612F28BF00}"/>
          </ac:cxnSpMkLst>
        </pc:cxnChg>
        <pc:cxnChg chg="add mod">
          <ac:chgData name="Annette Ysland Ludvigsen" userId="5cc2156a-4192-4fe6-8372-bcf947567e0f" providerId="ADAL" clId="{83C5B975-F26D-414E-9131-DF85FD8BC002}" dt="2021-06-18T06:26:30.964" v="4373" actId="1582"/>
          <ac:cxnSpMkLst>
            <pc:docMk/>
            <pc:sldMk cId="3478682997" sldId="454"/>
            <ac:cxnSpMk id="10" creationId="{4B5BCFB8-B556-4B2A-B814-AE8DC700527C}"/>
          </ac:cxnSpMkLst>
        </pc:cxnChg>
        <pc:cxnChg chg="del mod">
          <ac:chgData name="Annette Ysland Ludvigsen" userId="5cc2156a-4192-4fe6-8372-bcf947567e0f" providerId="ADAL" clId="{83C5B975-F26D-414E-9131-DF85FD8BC002}" dt="2021-06-16T08:53:03.032" v="1290" actId="478"/>
          <ac:cxnSpMkLst>
            <pc:docMk/>
            <pc:sldMk cId="3478682997" sldId="454"/>
            <ac:cxnSpMk id="17" creationId="{493ADA27-2163-4CE5-8642-8032A8DC42E5}"/>
          </ac:cxnSpMkLst>
        </pc:cxnChg>
        <pc:cxnChg chg="del mod">
          <ac:chgData name="Annette Ysland Ludvigsen" userId="5cc2156a-4192-4fe6-8372-bcf947567e0f" providerId="ADAL" clId="{83C5B975-F26D-414E-9131-DF85FD8BC002}" dt="2021-06-16T08:53:01.154" v="1289" actId="478"/>
          <ac:cxnSpMkLst>
            <pc:docMk/>
            <pc:sldMk cId="3478682997" sldId="454"/>
            <ac:cxnSpMk id="18" creationId="{B7FB13FC-C07F-4473-AF36-3C4FD6957BFE}"/>
          </ac:cxnSpMkLst>
        </pc:cxnChg>
        <pc:cxnChg chg="del mod">
          <ac:chgData name="Annette Ysland Ludvigsen" userId="5cc2156a-4192-4fe6-8372-bcf947567e0f" providerId="ADAL" clId="{83C5B975-F26D-414E-9131-DF85FD8BC002}" dt="2021-06-16T08:53:05.037" v="1291" actId="478"/>
          <ac:cxnSpMkLst>
            <pc:docMk/>
            <pc:sldMk cId="3478682997" sldId="454"/>
            <ac:cxnSpMk id="19" creationId="{2ED2F331-5789-41D7-8E9F-C1032F2A2A1E}"/>
          </ac:cxnSpMkLst>
        </pc:cxnChg>
        <pc:cxnChg chg="del mod">
          <ac:chgData name="Annette Ysland Ludvigsen" userId="5cc2156a-4192-4fe6-8372-bcf947567e0f" providerId="ADAL" clId="{83C5B975-F26D-414E-9131-DF85FD8BC002}" dt="2021-06-16T08:53:09.080" v="1293" actId="478"/>
          <ac:cxnSpMkLst>
            <pc:docMk/>
            <pc:sldMk cId="3478682997" sldId="454"/>
            <ac:cxnSpMk id="20" creationId="{DF848115-7691-4A8A-BCE1-831A6B63548F}"/>
          </ac:cxnSpMkLst>
        </pc:cxnChg>
        <pc:cxnChg chg="del mod">
          <ac:chgData name="Annette Ysland Ludvigsen" userId="5cc2156a-4192-4fe6-8372-bcf947567e0f" providerId="ADAL" clId="{83C5B975-F26D-414E-9131-DF85FD8BC002}" dt="2021-06-16T08:53:07.320" v="1292" actId="478"/>
          <ac:cxnSpMkLst>
            <pc:docMk/>
            <pc:sldMk cId="3478682997" sldId="454"/>
            <ac:cxnSpMk id="21" creationId="{FF5817FA-3E23-4E45-9198-DCB2F70769AD}"/>
          </ac:cxnSpMkLst>
        </pc:cxnChg>
        <pc:cxnChg chg="del mod">
          <ac:chgData name="Annette Ysland Ludvigsen" userId="5cc2156a-4192-4fe6-8372-bcf947567e0f" providerId="ADAL" clId="{83C5B975-F26D-414E-9131-DF85FD8BC002}" dt="2021-06-16T08:53:11.505" v="1294" actId="478"/>
          <ac:cxnSpMkLst>
            <pc:docMk/>
            <pc:sldMk cId="3478682997" sldId="454"/>
            <ac:cxnSpMk id="22" creationId="{208A303C-9289-449C-A09B-58AC174326B4}"/>
          </ac:cxnSpMkLst>
        </pc:cxnChg>
        <pc:cxnChg chg="del mod">
          <ac:chgData name="Annette Ysland Ludvigsen" userId="5cc2156a-4192-4fe6-8372-bcf947567e0f" providerId="ADAL" clId="{83C5B975-F26D-414E-9131-DF85FD8BC002}" dt="2021-06-18T06:25:31.900" v="4356" actId="478"/>
          <ac:cxnSpMkLst>
            <pc:docMk/>
            <pc:sldMk cId="3478682997" sldId="454"/>
            <ac:cxnSpMk id="23" creationId="{E8196AA7-6F6E-431C-BE58-FFCC3B92223F}"/>
          </ac:cxnSpMkLst>
        </pc:cxnChg>
        <pc:cxnChg chg="add del mod">
          <ac:chgData name="Annette Ysland Ludvigsen" userId="5cc2156a-4192-4fe6-8372-bcf947567e0f" providerId="ADAL" clId="{83C5B975-F26D-414E-9131-DF85FD8BC002}" dt="2021-06-18T06:25:53.240" v="4358" actId="478"/>
          <ac:cxnSpMkLst>
            <pc:docMk/>
            <pc:sldMk cId="3478682997" sldId="454"/>
            <ac:cxnSpMk id="34" creationId="{902EAFF9-F8C2-4501-9F87-97670000A9DC}"/>
          </ac:cxnSpMkLst>
        </pc:cxnChg>
        <pc:cxnChg chg="add del mod">
          <ac:chgData name="Annette Ysland Ludvigsen" userId="5cc2156a-4192-4fe6-8372-bcf947567e0f" providerId="ADAL" clId="{83C5B975-F26D-414E-9131-DF85FD8BC002}" dt="2021-06-18T06:25:55.170" v="4359" actId="478"/>
          <ac:cxnSpMkLst>
            <pc:docMk/>
            <pc:sldMk cId="3478682997" sldId="454"/>
            <ac:cxnSpMk id="36" creationId="{618DD237-3F4D-4D2A-9B6A-34A4DE792B80}"/>
          </ac:cxnSpMkLst>
        </pc:cxnChg>
        <pc:cxnChg chg="add mod">
          <ac:chgData name="Annette Ysland Ludvigsen" userId="5cc2156a-4192-4fe6-8372-bcf947567e0f" providerId="ADAL" clId="{83C5B975-F26D-414E-9131-DF85FD8BC002}" dt="2021-06-18T06:27:30.350" v="4401" actId="1076"/>
          <ac:cxnSpMkLst>
            <pc:docMk/>
            <pc:sldMk cId="3478682997" sldId="454"/>
            <ac:cxnSpMk id="39" creationId="{46B6314F-AD5F-43D2-8837-2108C59C5495}"/>
          </ac:cxnSpMkLst>
        </pc:cxnChg>
        <pc:cxnChg chg="add del mod">
          <ac:chgData name="Annette Ysland Ludvigsen" userId="5cc2156a-4192-4fe6-8372-bcf947567e0f" providerId="ADAL" clId="{83C5B975-F26D-414E-9131-DF85FD8BC002}" dt="2021-06-16T08:52:07.763" v="1285" actId="478"/>
          <ac:cxnSpMkLst>
            <pc:docMk/>
            <pc:sldMk cId="3478682997" sldId="454"/>
            <ac:cxnSpMk id="39" creationId="{8431FB14-6A2C-44B4-8435-BB48E09802B3}"/>
          </ac:cxnSpMkLst>
        </pc:cxnChg>
        <pc:cxnChg chg="add del mod">
          <ac:chgData name="Annette Ysland Ludvigsen" userId="5cc2156a-4192-4fe6-8372-bcf947567e0f" providerId="ADAL" clId="{83C5B975-F26D-414E-9131-DF85FD8BC002}" dt="2021-06-18T06:26:01.620" v="4365" actId="478"/>
          <ac:cxnSpMkLst>
            <pc:docMk/>
            <pc:sldMk cId="3478682997" sldId="454"/>
            <ac:cxnSpMk id="41" creationId="{9E30B114-2BCA-4820-A449-F3253C0394BF}"/>
          </ac:cxnSpMkLst>
        </pc:cxnChg>
        <pc:cxnChg chg="add mod">
          <ac:chgData name="Annette Ysland Ludvigsen" userId="5cc2156a-4192-4fe6-8372-bcf947567e0f" providerId="ADAL" clId="{83C5B975-F26D-414E-9131-DF85FD8BC002}" dt="2021-06-18T06:26:44.959" v="4379" actId="14100"/>
          <ac:cxnSpMkLst>
            <pc:docMk/>
            <pc:sldMk cId="3478682997" sldId="454"/>
            <ac:cxnSpMk id="42" creationId="{3A8A687D-ACA6-4B06-86DB-F0AD71C1E5C1}"/>
          </ac:cxnSpMkLst>
        </pc:cxnChg>
        <pc:cxnChg chg="add del mod">
          <ac:chgData name="Annette Ysland Ludvigsen" userId="5cc2156a-4192-4fe6-8372-bcf947567e0f" providerId="ADAL" clId="{83C5B975-F26D-414E-9131-DF85FD8BC002}" dt="2021-06-16T08:52:44.899" v="1288" actId="478"/>
          <ac:cxnSpMkLst>
            <pc:docMk/>
            <pc:sldMk cId="3478682997" sldId="454"/>
            <ac:cxnSpMk id="43" creationId="{7F192FF9-4618-4EC7-8318-A89444390FA8}"/>
          </ac:cxnSpMkLst>
        </pc:cxnChg>
        <pc:cxnChg chg="add del mod">
          <ac:chgData name="Annette Ysland Ludvigsen" userId="5cc2156a-4192-4fe6-8372-bcf947567e0f" providerId="ADAL" clId="{83C5B975-F26D-414E-9131-DF85FD8BC002}" dt="2021-06-18T06:26:00.540" v="4364" actId="478"/>
          <ac:cxnSpMkLst>
            <pc:docMk/>
            <pc:sldMk cId="3478682997" sldId="454"/>
            <ac:cxnSpMk id="45" creationId="{5C60BFA4-F682-402C-A199-96CE49A5DA8D}"/>
          </ac:cxnSpMkLst>
        </pc:cxnChg>
        <pc:cxnChg chg="add mod">
          <ac:chgData name="Annette Ysland Ludvigsen" userId="5cc2156a-4192-4fe6-8372-bcf947567e0f" providerId="ADAL" clId="{83C5B975-F26D-414E-9131-DF85FD8BC002}" dt="2021-06-18T06:27:30.350" v="4401" actId="1076"/>
          <ac:cxnSpMkLst>
            <pc:docMk/>
            <pc:sldMk cId="3478682997" sldId="454"/>
            <ac:cxnSpMk id="46" creationId="{74E09725-DA84-4710-9F29-5E968A64EE0A}"/>
          </ac:cxnSpMkLst>
        </pc:cxnChg>
        <pc:cxnChg chg="add del mod">
          <ac:chgData name="Annette Ysland Ludvigsen" userId="5cc2156a-4192-4fe6-8372-bcf947567e0f" providerId="ADAL" clId="{83C5B975-F26D-414E-9131-DF85FD8BC002}" dt="2021-06-18T06:25:59.210" v="4363" actId="478"/>
          <ac:cxnSpMkLst>
            <pc:docMk/>
            <pc:sldMk cId="3478682997" sldId="454"/>
            <ac:cxnSpMk id="47" creationId="{F22C7F7F-0C49-4972-BA48-6F63379A164E}"/>
          </ac:cxnSpMkLst>
        </pc:cxnChg>
        <pc:cxnChg chg="add mod">
          <ac:chgData name="Annette Ysland Ludvigsen" userId="5cc2156a-4192-4fe6-8372-bcf947567e0f" providerId="ADAL" clId="{83C5B975-F26D-414E-9131-DF85FD8BC002}" dt="2021-06-18T06:27:30.350" v="4401" actId="1076"/>
          <ac:cxnSpMkLst>
            <pc:docMk/>
            <pc:sldMk cId="3478682997" sldId="454"/>
            <ac:cxnSpMk id="48" creationId="{CC7A3CF6-DCFD-4AD0-9F8D-07C72BB364C2}"/>
          </ac:cxnSpMkLst>
        </pc:cxnChg>
        <pc:cxnChg chg="add del mod">
          <ac:chgData name="Annette Ysland Ludvigsen" userId="5cc2156a-4192-4fe6-8372-bcf947567e0f" providerId="ADAL" clId="{83C5B975-F26D-414E-9131-DF85FD8BC002}" dt="2021-06-18T06:25:58.260" v="4361" actId="478"/>
          <ac:cxnSpMkLst>
            <pc:docMk/>
            <pc:sldMk cId="3478682997" sldId="454"/>
            <ac:cxnSpMk id="49" creationId="{24EAD142-9534-48BF-9300-411DEA82FABF}"/>
          </ac:cxnSpMkLst>
        </pc:cxnChg>
        <pc:cxnChg chg="add del mod">
          <ac:chgData name="Annette Ysland Ludvigsen" userId="5cc2156a-4192-4fe6-8372-bcf947567e0f" providerId="ADAL" clId="{83C5B975-F26D-414E-9131-DF85FD8BC002}" dt="2021-06-16T08:53:35.776" v="1299" actId="478"/>
          <ac:cxnSpMkLst>
            <pc:docMk/>
            <pc:sldMk cId="3478682997" sldId="454"/>
            <ac:cxnSpMk id="51" creationId="{4FC4E297-70CC-45A1-A948-35FE1B382B45}"/>
          </ac:cxnSpMkLst>
        </pc:cxnChg>
        <pc:cxnChg chg="add mod">
          <ac:chgData name="Annette Ysland Ludvigsen" userId="5cc2156a-4192-4fe6-8372-bcf947567e0f" providerId="ADAL" clId="{83C5B975-F26D-414E-9131-DF85FD8BC002}" dt="2021-06-18T06:27:30.350" v="4401" actId="1076"/>
          <ac:cxnSpMkLst>
            <pc:docMk/>
            <pc:sldMk cId="3478682997" sldId="454"/>
            <ac:cxnSpMk id="52" creationId="{7D633726-9DD5-45C0-B6AE-332AB22176CC}"/>
          </ac:cxnSpMkLst>
        </pc:cxnChg>
        <pc:cxnChg chg="add del mod">
          <ac:chgData name="Annette Ysland Ludvigsen" userId="5cc2156a-4192-4fe6-8372-bcf947567e0f" providerId="ADAL" clId="{83C5B975-F26D-414E-9131-DF85FD8BC002}" dt="2021-06-18T06:25:57.190" v="4360" actId="478"/>
          <ac:cxnSpMkLst>
            <pc:docMk/>
            <pc:sldMk cId="3478682997" sldId="454"/>
            <ac:cxnSpMk id="53" creationId="{7656E10F-774A-46E6-A3D8-EA99396610B1}"/>
          </ac:cxnSpMkLst>
        </pc:cxnChg>
        <pc:cxnChg chg="add mod">
          <ac:chgData name="Annette Ysland Ludvigsen" userId="5cc2156a-4192-4fe6-8372-bcf947567e0f" providerId="ADAL" clId="{83C5B975-F26D-414E-9131-DF85FD8BC002}" dt="2021-06-18T06:27:30.350" v="4401" actId="1076"/>
          <ac:cxnSpMkLst>
            <pc:docMk/>
            <pc:sldMk cId="3478682997" sldId="454"/>
            <ac:cxnSpMk id="60" creationId="{65C25716-C4CE-485D-8A33-AD6A92BAD5E7}"/>
          </ac:cxnSpMkLst>
        </pc:cxnChg>
        <pc:cxnChg chg="add mod">
          <ac:chgData name="Annette Ysland Ludvigsen" userId="5cc2156a-4192-4fe6-8372-bcf947567e0f" providerId="ADAL" clId="{83C5B975-F26D-414E-9131-DF85FD8BC002}" dt="2021-06-18T06:27:50.295" v="4407" actId="208"/>
          <ac:cxnSpMkLst>
            <pc:docMk/>
            <pc:sldMk cId="3478682997" sldId="454"/>
            <ac:cxnSpMk id="76" creationId="{62D7C564-FECB-4CCE-A5C8-A9213D9DEAE2}"/>
          </ac:cxnSpMkLst>
        </pc:cxnChg>
      </pc:sldChg>
      <pc:sldChg chg="addSp delSp modSp mod addAnim delAnim modAnim">
        <pc:chgData name="Annette Ysland Ludvigsen" userId="5cc2156a-4192-4fe6-8372-bcf947567e0f" providerId="ADAL" clId="{83C5B975-F26D-414E-9131-DF85FD8BC002}" dt="2021-06-16T12:04:12.983" v="3226" actId="207"/>
        <pc:sldMkLst>
          <pc:docMk/>
          <pc:sldMk cId="3042079861" sldId="465"/>
        </pc:sldMkLst>
        <pc:spChg chg="mod">
          <ac:chgData name="Annette Ysland Ludvigsen" userId="5cc2156a-4192-4fe6-8372-bcf947567e0f" providerId="ADAL" clId="{83C5B975-F26D-414E-9131-DF85FD8BC002}" dt="2021-06-16T12:04:12.983" v="3226" actId="207"/>
          <ac:spMkLst>
            <pc:docMk/>
            <pc:sldMk cId="3042079861" sldId="465"/>
            <ac:spMk id="2" creationId="{AFAC418D-4DE9-4BD9-ABCB-DF67B0C1979C}"/>
          </ac:spMkLst>
        </pc:spChg>
        <pc:spChg chg="add mod">
          <ac:chgData name="Annette Ysland Ludvigsen" userId="5cc2156a-4192-4fe6-8372-bcf947567e0f" providerId="ADAL" clId="{83C5B975-F26D-414E-9131-DF85FD8BC002}" dt="2021-06-16T08:46:21.983" v="1063" actId="207"/>
          <ac:spMkLst>
            <pc:docMk/>
            <pc:sldMk cId="3042079861" sldId="465"/>
            <ac:spMk id="3" creationId="{F454F694-98CD-4367-A5EC-1B2E0688400C}"/>
          </ac:spMkLst>
        </pc:spChg>
        <pc:spChg chg="add del">
          <ac:chgData name="Annette Ysland Ludvigsen" userId="5cc2156a-4192-4fe6-8372-bcf947567e0f" providerId="ADAL" clId="{83C5B975-F26D-414E-9131-DF85FD8BC002}" dt="2021-06-16T08:26:22.961" v="793" actId="478"/>
          <ac:spMkLst>
            <pc:docMk/>
            <pc:sldMk cId="3042079861" sldId="465"/>
            <ac:spMk id="9" creationId="{73EEA411-7E41-4FAA-8AF4-DFF144072AB2}"/>
          </ac:spMkLst>
        </pc:spChg>
        <pc:spChg chg="add del">
          <ac:chgData name="Annette Ysland Ludvigsen" userId="5cc2156a-4192-4fe6-8372-bcf947567e0f" providerId="ADAL" clId="{83C5B975-F26D-414E-9131-DF85FD8BC002}" dt="2021-06-16T08:26:25.401" v="794" actId="478"/>
          <ac:spMkLst>
            <pc:docMk/>
            <pc:sldMk cId="3042079861" sldId="465"/>
            <ac:spMk id="10" creationId="{D024C5D7-550C-41B7-990E-390C7C7C7B2D}"/>
          </ac:spMkLst>
        </pc:spChg>
        <pc:spChg chg="add del mod">
          <ac:chgData name="Annette Ysland Ludvigsen" userId="5cc2156a-4192-4fe6-8372-bcf947567e0f" providerId="ADAL" clId="{83C5B975-F26D-414E-9131-DF85FD8BC002}" dt="2021-06-16T08:27:43.809" v="912" actId="478"/>
          <ac:spMkLst>
            <pc:docMk/>
            <pc:sldMk cId="3042079861" sldId="465"/>
            <ac:spMk id="12" creationId="{F5AF014C-585F-48E6-AA0A-4937429F07ED}"/>
          </ac:spMkLst>
        </pc:spChg>
        <pc:spChg chg="del mod">
          <ac:chgData name="Annette Ysland Ludvigsen" userId="5cc2156a-4192-4fe6-8372-bcf947567e0f" providerId="ADAL" clId="{83C5B975-F26D-414E-9131-DF85FD8BC002}" dt="2021-06-16T08:28:12.161" v="1008" actId="478"/>
          <ac:spMkLst>
            <pc:docMk/>
            <pc:sldMk cId="3042079861" sldId="465"/>
            <ac:spMk id="26" creationId="{70F1B738-DDE5-4A9A-8A38-C4EE70B9316E}"/>
          </ac:spMkLst>
        </pc:spChg>
        <pc:spChg chg="del mod">
          <ac:chgData name="Annette Ysland Ludvigsen" userId="5cc2156a-4192-4fe6-8372-bcf947567e0f" providerId="ADAL" clId="{83C5B975-F26D-414E-9131-DF85FD8BC002}" dt="2021-06-16T08:27:22.664" v="859" actId="478"/>
          <ac:spMkLst>
            <pc:docMk/>
            <pc:sldMk cId="3042079861" sldId="465"/>
            <ac:spMk id="27" creationId="{D539F070-FF40-47A8-8D06-F84B163230F8}"/>
          </ac:spMkLst>
        </pc:spChg>
        <pc:spChg chg="add del mod">
          <ac:chgData name="Annette Ysland Ludvigsen" userId="5cc2156a-4192-4fe6-8372-bcf947567e0f" providerId="ADAL" clId="{83C5B975-F26D-414E-9131-DF85FD8BC002}" dt="2021-06-16T08:26:53.917" v="830" actId="21"/>
          <ac:spMkLst>
            <pc:docMk/>
            <pc:sldMk cId="3042079861" sldId="465"/>
            <ac:spMk id="28" creationId="{38DCF22A-B9AA-44FD-9E3C-408A342367B0}"/>
          </ac:spMkLst>
        </pc:spChg>
        <pc:spChg chg="add mod">
          <ac:chgData name="Annette Ysland Ludvigsen" userId="5cc2156a-4192-4fe6-8372-bcf947567e0f" providerId="ADAL" clId="{83C5B975-F26D-414E-9131-DF85FD8BC002}" dt="2021-06-16T08:38:37.139" v="1026" actId="14100"/>
          <ac:spMkLst>
            <pc:docMk/>
            <pc:sldMk cId="3042079861" sldId="465"/>
            <ac:spMk id="30" creationId="{D9F5B51F-7AB8-4FD7-AAC0-9D8A047A13A6}"/>
          </ac:spMkLst>
        </pc:spChg>
        <pc:spChg chg="add mod">
          <ac:chgData name="Annette Ysland Ludvigsen" userId="5cc2156a-4192-4fe6-8372-bcf947567e0f" providerId="ADAL" clId="{83C5B975-F26D-414E-9131-DF85FD8BC002}" dt="2021-06-16T08:34:55.897" v="1024" actId="20577"/>
          <ac:spMkLst>
            <pc:docMk/>
            <pc:sldMk cId="3042079861" sldId="465"/>
            <ac:spMk id="31" creationId="{8ABBF01E-2663-432E-A1DE-AFCF5BDF7C62}"/>
          </ac:spMkLst>
        </pc:spChg>
        <pc:spChg chg="add mod">
          <ac:chgData name="Annette Ysland Ludvigsen" userId="5cc2156a-4192-4fe6-8372-bcf947567e0f" providerId="ADAL" clId="{83C5B975-F26D-414E-9131-DF85FD8BC002}" dt="2021-06-16T08:35:09.197" v="1025" actId="20577"/>
          <ac:spMkLst>
            <pc:docMk/>
            <pc:sldMk cId="3042079861" sldId="465"/>
            <ac:spMk id="32" creationId="{FD5C44E7-0620-40A1-86A4-A82DDC1CCAAC}"/>
          </ac:spMkLst>
        </pc:spChg>
        <pc:spChg chg="add mod">
          <ac:chgData name="Annette Ysland Ludvigsen" userId="5cc2156a-4192-4fe6-8372-bcf947567e0f" providerId="ADAL" clId="{83C5B975-F26D-414E-9131-DF85FD8BC002}" dt="2021-06-16T08:46:25.024" v="1064" actId="207"/>
          <ac:spMkLst>
            <pc:docMk/>
            <pc:sldMk cId="3042079861" sldId="465"/>
            <ac:spMk id="33" creationId="{97FFEFD5-0182-4BE0-AEE3-1CF5FD2271FA}"/>
          </ac:spMkLst>
        </pc:spChg>
        <pc:spChg chg="add mod">
          <ac:chgData name="Annette Ysland Ludvigsen" userId="5cc2156a-4192-4fe6-8372-bcf947567e0f" providerId="ADAL" clId="{83C5B975-F26D-414E-9131-DF85FD8BC002}" dt="2021-06-16T08:47:04.547" v="1099" actId="207"/>
          <ac:spMkLst>
            <pc:docMk/>
            <pc:sldMk cId="3042079861" sldId="465"/>
            <ac:spMk id="34" creationId="{899FCF1D-4395-4A2B-B1B6-D52008632310}"/>
          </ac:spMkLst>
        </pc:spChg>
        <pc:spChg chg="add mod">
          <ac:chgData name="Annette Ysland Ludvigsen" userId="5cc2156a-4192-4fe6-8372-bcf947567e0f" providerId="ADAL" clId="{83C5B975-F26D-414E-9131-DF85FD8BC002}" dt="2021-06-16T08:47:35.363" v="1148" actId="20577"/>
          <ac:spMkLst>
            <pc:docMk/>
            <pc:sldMk cId="3042079861" sldId="465"/>
            <ac:spMk id="35" creationId="{16B3D67B-ADBC-4F3A-8531-37C24A648A64}"/>
          </ac:spMkLst>
        </pc:spChg>
        <pc:spChg chg="add mod">
          <ac:chgData name="Annette Ysland Ludvigsen" userId="5cc2156a-4192-4fe6-8372-bcf947567e0f" providerId="ADAL" clId="{83C5B975-F26D-414E-9131-DF85FD8BC002}" dt="2021-06-16T08:47:59.552" v="1170" actId="20577"/>
          <ac:spMkLst>
            <pc:docMk/>
            <pc:sldMk cId="3042079861" sldId="465"/>
            <ac:spMk id="36" creationId="{47D5B00C-58CD-464C-9319-5D088D35719D}"/>
          </ac:spMkLst>
        </pc:spChg>
        <pc:spChg chg="add mod">
          <ac:chgData name="Annette Ysland Ludvigsen" userId="5cc2156a-4192-4fe6-8372-bcf947567e0f" providerId="ADAL" clId="{83C5B975-F26D-414E-9131-DF85FD8BC002}" dt="2021-06-16T08:48:17.391" v="1194" actId="20577"/>
          <ac:spMkLst>
            <pc:docMk/>
            <pc:sldMk cId="3042079861" sldId="465"/>
            <ac:spMk id="37" creationId="{4C28282E-0C09-4487-BDA8-70C939AA4431}"/>
          </ac:spMkLst>
        </pc:spChg>
        <pc:spChg chg="add mod">
          <ac:chgData name="Annette Ysland Ludvigsen" userId="5cc2156a-4192-4fe6-8372-bcf947567e0f" providerId="ADAL" clId="{83C5B975-F26D-414E-9131-DF85FD8BC002}" dt="2021-06-16T08:49:14.567" v="1228" actId="1076"/>
          <ac:spMkLst>
            <pc:docMk/>
            <pc:sldMk cId="3042079861" sldId="465"/>
            <ac:spMk id="38" creationId="{17EF9023-27D2-4CB3-8496-F6695A2388C3}"/>
          </ac:spMkLst>
        </pc:spChg>
        <pc:spChg chg="add mod">
          <ac:chgData name="Annette Ysland Ludvigsen" userId="5cc2156a-4192-4fe6-8372-bcf947567e0f" providerId="ADAL" clId="{83C5B975-F26D-414E-9131-DF85FD8BC002}" dt="2021-06-16T09:50:58.379" v="1509" actId="1076"/>
          <ac:spMkLst>
            <pc:docMk/>
            <pc:sldMk cId="3042079861" sldId="465"/>
            <ac:spMk id="39" creationId="{CAD9FBD9-92FA-4E3E-BD64-AA7E2F371B4D}"/>
          </ac:spMkLst>
        </pc:spChg>
        <pc:spChg chg="add mod">
          <ac:chgData name="Annette Ysland Ludvigsen" userId="5cc2156a-4192-4fe6-8372-bcf947567e0f" providerId="ADAL" clId="{83C5B975-F26D-414E-9131-DF85FD8BC002}" dt="2021-06-16T09:50:58.379" v="1509" actId="1076"/>
          <ac:spMkLst>
            <pc:docMk/>
            <pc:sldMk cId="3042079861" sldId="465"/>
            <ac:spMk id="40" creationId="{535819B4-7EF9-4342-82CA-0F84A661E194}"/>
          </ac:spMkLst>
        </pc:spChg>
        <pc:spChg chg="add del mod">
          <ac:chgData name="Annette Ysland Ludvigsen" userId="5cc2156a-4192-4fe6-8372-bcf947567e0f" providerId="ADAL" clId="{83C5B975-F26D-414E-9131-DF85FD8BC002}" dt="2021-06-16T10:03:38.535" v="1697" actId="478"/>
          <ac:spMkLst>
            <pc:docMk/>
            <pc:sldMk cId="3042079861" sldId="465"/>
            <ac:spMk id="41" creationId="{E0216CE0-5989-42B1-98AB-D8949AAE1637}"/>
          </ac:spMkLst>
        </pc:spChg>
        <pc:picChg chg="add mod ord">
          <ac:chgData name="Annette Ysland Ludvigsen" userId="5cc2156a-4192-4fe6-8372-bcf947567e0f" providerId="ADAL" clId="{83C5B975-F26D-414E-9131-DF85FD8BC002}" dt="2021-06-16T12:04:01.128" v="3223" actId="1076"/>
          <ac:picMkLst>
            <pc:docMk/>
            <pc:sldMk cId="3042079861" sldId="465"/>
            <ac:picMk id="43" creationId="{B174B9D2-782E-49A6-9854-6F8BD63BA6FB}"/>
          </ac:picMkLst>
        </pc:picChg>
      </pc:sldChg>
      <pc:sldChg chg="del">
        <pc:chgData name="Annette Ysland Ludvigsen" userId="5cc2156a-4192-4fe6-8372-bcf947567e0f" providerId="ADAL" clId="{83C5B975-F26D-414E-9131-DF85FD8BC002}" dt="2021-06-16T11:59:28.160" v="3138" actId="47"/>
        <pc:sldMkLst>
          <pc:docMk/>
          <pc:sldMk cId="3041511300" sldId="469"/>
        </pc:sldMkLst>
      </pc:sldChg>
      <pc:sldChg chg="addSp delSp modSp mod ord">
        <pc:chgData name="Annette Ysland Ludvigsen" userId="5cc2156a-4192-4fe6-8372-bcf947567e0f" providerId="ADAL" clId="{83C5B975-F26D-414E-9131-DF85FD8BC002}" dt="2021-06-16T11:07:57.461" v="2210" actId="14100"/>
        <pc:sldMkLst>
          <pc:docMk/>
          <pc:sldMk cId="2200600267" sldId="3532"/>
        </pc:sldMkLst>
        <pc:spChg chg="add del mod">
          <ac:chgData name="Annette Ysland Ludvigsen" userId="5cc2156a-4192-4fe6-8372-bcf947567e0f" providerId="ADAL" clId="{83C5B975-F26D-414E-9131-DF85FD8BC002}" dt="2021-06-16T11:07:42.376" v="2192" actId="478"/>
          <ac:spMkLst>
            <pc:docMk/>
            <pc:sldMk cId="2200600267" sldId="3532"/>
            <ac:spMk id="3" creationId="{626D2559-6A9A-4115-A8C8-9CDF14DF976F}"/>
          </ac:spMkLst>
        </pc:spChg>
        <pc:spChg chg="add mod">
          <ac:chgData name="Annette Ysland Ludvigsen" userId="5cc2156a-4192-4fe6-8372-bcf947567e0f" providerId="ADAL" clId="{83C5B975-F26D-414E-9131-DF85FD8BC002}" dt="2021-06-16T11:07:57.461" v="2210" actId="14100"/>
          <ac:spMkLst>
            <pc:docMk/>
            <pc:sldMk cId="2200600267" sldId="3532"/>
            <ac:spMk id="39" creationId="{2A57BE38-8753-48D7-8E9A-90E60BC4ED1B}"/>
          </ac:spMkLst>
        </pc:spChg>
        <pc:spChg chg="del">
          <ac:chgData name="Annette Ysland Ludvigsen" userId="5cc2156a-4192-4fe6-8372-bcf947567e0f" providerId="ADAL" clId="{83C5B975-F26D-414E-9131-DF85FD8BC002}" dt="2021-06-16T11:07:40.947" v="2191" actId="478"/>
          <ac:spMkLst>
            <pc:docMk/>
            <pc:sldMk cId="2200600267" sldId="3532"/>
            <ac:spMk id="112" creationId="{00000000-0000-0000-0000-000000000000}"/>
          </ac:spMkLst>
        </pc:spChg>
        <pc:picChg chg="add mod">
          <ac:chgData name="Annette Ysland Ludvigsen" userId="5cc2156a-4192-4fe6-8372-bcf947567e0f" providerId="ADAL" clId="{83C5B975-F26D-414E-9131-DF85FD8BC002}" dt="2021-06-16T11:07:55.240" v="2209" actId="14100"/>
          <ac:picMkLst>
            <pc:docMk/>
            <pc:sldMk cId="2200600267" sldId="3532"/>
            <ac:picMk id="37" creationId="{C3312508-E101-4250-A3A9-9F1975983209}"/>
          </ac:picMkLst>
        </pc:picChg>
      </pc:sldChg>
      <pc:sldChg chg="addSp delSp modSp mod delAnim modAnim modNotesTx">
        <pc:chgData name="Annette Ysland Ludvigsen" userId="5cc2156a-4192-4fe6-8372-bcf947567e0f" providerId="ADAL" clId="{83C5B975-F26D-414E-9131-DF85FD8BC002}" dt="2021-06-23T06:40:17.072" v="5477" actId="1076"/>
        <pc:sldMkLst>
          <pc:docMk/>
          <pc:sldMk cId="1319397429" sldId="3539"/>
        </pc:sldMkLst>
        <pc:spChg chg="add del mod">
          <ac:chgData name="Annette Ysland Ludvigsen" userId="5cc2156a-4192-4fe6-8372-bcf947567e0f" providerId="ADAL" clId="{83C5B975-F26D-414E-9131-DF85FD8BC002}" dt="2021-06-16T11:06:45.489" v="2178" actId="478"/>
          <ac:spMkLst>
            <pc:docMk/>
            <pc:sldMk cId="1319397429" sldId="3539"/>
            <ac:spMk id="3" creationId="{19231DCF-1CC7-4E16-978B-523C9CACC330}"/>
          </ac:spMkLst>
        </pc:spChg>
        <pc:spChg chg="ord">
          <ac:chgData name="Annette Ysland Ludvigsen" userId="5cc2156a-4192-4fe6-8372-bcf947567e0f" providerId="ADAL" clId="{83C5B975-F26D-414E-9131-DF85FD8BC002}" dt="2021-06-16T11:06:55.749" v="2180" actId="166"/>
          <ac:spMkLst>
            <pc:docMk/>
            <pc:sldMk cId="1319397429" sldId="3539"/>
            <ac:spMk id="6" creationId="{0A53531A-43F2-4DC5-A2E6-F3DCB23EA9D5}"/>
          </ac:spMkLst>
        </pc:spChg>
        <pc:spChg chg="ord">
          <ac:chgData name="Annette Ysland Ludvigsen" userId="5cc2156a-4192-4fe6-8372-bcf947567e0f" providerId="ADAL" clId="{83C5B975-F26D-414E-9131-DF85FD8BC002}" dt="2021-06-16T11:06:58.445" v="2181" actId="166"/>
          <ac:spMkLst>
            <pc:docMk/>
            <pc:sldMk cId="1319397429" sldId="3539"/>
            <ac:spMk id="9" creationId="{CD80E80A-21A6-4BBE-A8AA-5D3DCF516EBA}"/>
          </ac:spMkLst>
        </pc:spChg>
        <pc:spChg chg="add mod">
          <ac:chgData name="Annette Ysland Ludvigsen" userId="5cc2156a-4192-4fe6-8372-bcf947567e0f" providerId="ADAL" clId="{83C5B975-F26D-414E-9131-DF85FD8BC002}" dt="2021-06-16T11:06:51.487" v="2179" actId="1076"/>
          <ac:spMkLst>
            <pc:docMk/>
            <pc:sldMk cId="1319397429" sldId="3539"/>
            <ac:spMk id="42" creationId="{710B1C46-74C9-4579-83EC-9BF23993DF08}"/>
          </ac:spMkLst>
        </pc:spChg>
        <pc:spChg chg="add mod">
          <ac:chgData name="Annette Ysland Ludvigsen" userId="5cc2156a-4192-4fe6-8372-bcf947567e0f" providerId="ADAL" clId="{83C5B975-F26D-414E-9131-DF85FD8BC002}" dt="2021-06-23T06:40:17.072" v="5477" actId="1076"/>
          <ac:spMkLst>
            <pc:docMk/>
            <pc:sldMk cId="1319397429" sldId="3539"/>
            <ac:spMk id="43" creationId="{433AA391-7232-421B-B0B6-B313738743E1}"/>
          </ac:spMkLst>
        </pc:spChg>
        <pc:spChg chg="del">
          <ac:chgData name="Annette Ysland Ludvigsen" userId="5cc2156a-4192-4fe6-8372-bcf947567e0f" providerId="ADAL" clId="{83C5B975-F26D-414E-9131-DF85FD8BC002}" dt="2021-06-23T06:40:13.015" v="5475" actId="478"/>
          <ac:spMkLst>
            <pc:docMk/>
            <pc:sldMk cId="1319397429" sldId="3539"/>
            <ac:spMk id="46" creationId="{22E97D8D-F9D2-450D-9437-F4600E0B48DC}"/>
          </ac:spMkLst>
        </pc:spChg>
        <pc:spChg chg="del">
          <ac:chgData name="Annette Ysland Ludvigsen" userId="5cc2156a-4192-4fe6-8372-bcf947567e0f" providerId="ADAL" clId="{83C5B975-F26D-414E-9131-DF85FD8BC002}" dt="2021-06-16T11:06:43.339" v="2177" actId="478"/>
          <ac:spMkLst>
            <pc:docMk/>
            <pc:sldMk cId="1319397429" sldId="3539"/>
            <ac:spMk id="112" creationId="{00000000-0000-0000-0000-000000000000}"/>
          </ac:spMkLst>
        </pc:spChg>
        <pc:picChg chg="add mod">
          <ac:chgData name="Annette Ysland Ludvigsen" userId="5cc2156a-4192-4fe6-8372-bcf947567e0f" providerId="ADAL" clId="{83C5B975-F26D-414E-9131-DF85FD8BC002}" dt="2021-06-16T11:06:51.487" v="2179" actId="1076"/>
          <ac:picMkLst>
            <pc:docMk/>
            <pc:sldMk cId="1319397429" sldId="3539"/>
            <ac:picMk id="41" creationId="{15236943-0C67-4566-A1E9-4FF549AA5662}"/>
          </ac:picMkLst>
        </pc:picChg>
      </pc:sldChg>
      <pc:sldChg chg="addSp delSp modSp mod ord">
        <pc:chgData name="Annette Ysland Ludvigsen" userId="5cc2156a-4192-4fe6-8372-bcf947567e0f" providerId="ADAL" clId="{83C5B975-F26D-414E-9131-DF85FD8BC002}" dt="2021-06-23T06:18:24.615" v="5472" actId="1076"/>
        <pc:sldMkLst>
          <pc:docMk/>
          <pc:sldMk cId="1149498149" sldId="3543"/>
        </pc:sldMkLst>
        <pc:spChg chg="mod">
          <ac:chgData name="Annette Ysland Ludvigsen" userId="5cc2156a-4192-4fe6-8372-bcf947567e0f" providerId="ADAL" clId="{83C5B975-F26D-414E-9131-DF85FD8BC002}" dt="2021-06-16T10:52:58.995" v="1709" actId="207"/>
          <ac:spMkLst>
            <pc:docMk/>
            <pc:sldMk cId="1149498149" sldId="3543"/>
            <ac:spMk id="2" creationId="{4E5AAA1B-3C0C-475C-BE1B-71F2A7038388}"/>
          </ac:spMkLst>
        </pc:spChg>
        <pc:spChg chg="mod">
          <ac:chgData name="Annette Ysland Ludvigsen" userId="5cc2156a-4192-4fe6-8372-bcf947567e0f" providerId="ADAL" clId="{83C5B975-F26D-414E-9131-DF85FD8BC002}" dt="2021-06-23T06:18:24.615" v="5472" actId="1076"/>
          <ac:spMkLst>
            <pc:docMk/>
            <pc:sldMk cId="1149498149" sldId="3543"/>
            <ac:spMk id="3" creationId="{B3F1983A-5396-48FC-8684-4E4A78257327}"/>
          </ac:spMkLst>
        </pc:spChg>
        <pc:spChg chg="add mod">
          <ac:chgData name="Annette Ysland Ludvigsen" userId="5cc2156a-4192-4fe6-8372-bcf947567e0f" providerId="ADAL" clId="{83C5B975-F26D-414E-9131-DF85FD8BC002}" dt="2021-06-22T21:25:44.478" v="5463" actId="208"/>
          <ac:spMkLst>
            <pc:docMk/>
            <pc:sldMk cId="1149498149" sldId="3543"/>
            <ac:spMk id="4" creationId="{BB106132-ABA8-4232-B8AD-F0B37B533BFE}"/>
          </ac:spMkLst>
        </pc:spChg>
        <pc:spChg chg="add del mod">
          <ac:chgData name="Annette Ysland Ludvigsen" userId="5cc2156a-4192-4fe6-8372-bcf947567e0f" providerId="ADAL" clId="{83C5B975-F26D-414E-9131-DF85FD8BC002}" dt="2021-06-16T10:52:18.417" v="1701"/>
          <ac:spMkLst>
            <pc:docMk/>
            <pc:sldMk cId="1149498149" sldId="3543"/>
            <ac:spMk id="4" creationId="{BDC66782-7161-4C7B-B625-DBAF7A5EBA4E}"/>
          </ac:spMkLst>
        </pc:spChg>
        <pc:spChg chg="add mod">
          <ac:chgData name="Annette Ysland Ludvigsen" userId="5cc2156a-4192-4fe6-8372-bcf947567e0f" providerId="ADAL" clId="{83C5B975-F26D-414E-9131-DF85FD8BC002}" dt="2021-06-22T21:26:08.318" v="5467" actId="14100"/>
          <ac:spMkLst>
            <pc:docMk/>
            <pc:sldMk cId="1149498149" sldId="3543"/>
            <ac:spMk id="8" creationId="{F222B78E-41E2-4B44-BC06-AE2D5A3D770D}"/>
          </ac:spMkLst>
        </pc:spChg>
        <pc:picChg chg="add mod ord modCrop">
          <ac:chgData name="Annette Ysland Ludvigsen" userId="5cc2156a-4192-4fe6-8372-bcf947567e0f" providerId="ADAL" clId="{83C5B975-F26D-414E-9131-DF85FD8BC002}" dt="2021-06-16T10:53:02.085" v="1710" actId="1076"/>
          <ac:picMkLst>
            <pc:docMk/>
            <pc:sldMk cId="1149498149" sldId="3543"/>
            <ac:picMk id="7" creationId="{E7619F7A-BCB1-4DDF-97DC-BCF55D59F15D}"/>
          </ac:picMkLst>
        </pc:picChg>
      </pc:sldChg>
      <pc:sldChg chg="modSp del mod">
        <pc:chgData name="Annette Ysland Ludvigsen" userId="5cc2156a-4192-4fe6-8372-bcf947567e0f" providerId="ADAL" clId="{83C5B975-F26D-414E-9131-DF85FD8BC002}" dt="2021-06-16T11:01:29.802" v="1903" actId="47"/>
        <pc:sldMkLst>
          <pc:docMk/>
          <pc:sldMk cId="372819754" sldId="3544"/>
        </pc:sldMkLst>
        <pc:spChg chg="mod">
          <ac:chgData name="Annette Ysland Ludvigsen" userId="5cc2156a-4192-4fe6-8372-bcf947567e0f" providerId="ADAL" clId="{83C5B975-F26D-414E-9131-DF85FD8BC002}" dt="2021-06-16T11:00:42.641" v="1793" actId="21"/>
          <ac:spMkLst>
            <pc:docMk/>
            <pc:sldMk cId="372819754" sldId="3544"/>
            <ac:spMk id="24" creationId="{088E9E59-30DC-4648-8BEA-ABE59BC6D25C}"/>
          </ac:spMkLst>
        </pc:spChg>
      </pc:sldChg>
      <pc:sldChg chg="modSp add del mod">
        <pc:chgData name="Annette Ysland Ludvigsen" userId="5cc2156a-4192-4fe6-8372-bcf947567e0f" providerId="ADAL" clId="{83C5B975-F26D-414E-9131-DF85FD8BC002}" dt="2021-06-16T11:04:30.148" v="2125" actId="47"/>
        <pc:sldMkLst>
          <pc:docMk/>
          <pc:sldMk cId="470860945" sldId="3545"/>
        </pc:sldMkLst>
        <pc:spChg chg="mod">
          <ac:chgData name="Annette Ysland Ludvigsen" userId="5cc2156a-4192-4fe6-8372-bcf947567e0f" providerId="ADAL" clId="{83C5B975-F26D-414E-9131-DF85FD8BC002}" dt="2021-06-16T11:01:46.928" v="1907" actId="21"/>
          <ac:spMkLst>
            <pc:docMk/>
            <pc:sldMk cId="470860945" sldId="3545"/>
            <ac:spMk id="3" creationId="{6DE4573C-DC99-4AA0-9739-4122279D3926}"/>
          </ac:spMkLst>
        </pc:spChg>
      </pc:sldChg>
      <pc:sldChg chg="addSp delSp modSp mod modAnim modNotesTx">
        <pc:chgData name="Annette Ysland Ludvigsen" userId="5cc2156a-4192-4fe6-8372-bcf947567e0f" providerId="ADAL" clId="{83C5B975-F26D-414E-9131-DF85FD8BC002}" dt="2021-06-23T06:39:54.140" v="5473" actId="20577"/>
        <pc:sldMkLst>
          <pc:docMk/>
          <pc:sldMk cId="2256189527" sldId="3546"/>
        </pc:sldMkLst>
        <pc:spChg chg="mod">
          <ac:chgData name="Annette Ysland Ludvigsen" userId="5cc2156a-4192-4fe6-8372-bcf947567e0f" providerId="ADAL" clId="{83C5B975-F26D-414E-9131-DF85FD8BC002}" dt="2021-06-16T07:59:57.131" v="7" actId="1076"/>
          <ac:spMkLst>
            <pc:docMk/>
            <pc:sldMk cId="2256189527" sldId="3546"/>
            <ac:spMk id="3" creationId="{DA0599DE-39D5-4FCE-86C9-5BE1B33061CA}"/>
          </ac:spMkLst>
        </pc:spChg>
        <pc:spChg chg="mod">
          <ac:chgData name="Annette Ysland Ludvigsen" userId="5cc2156a-4192-4fe6-8372-bcf947567e0f" providerId="ADAL" clId="{83C5B975-F26D-414E-9131-DF85FD8BC002}" dt="2021-06-17T09:07:44.718" v="4134" actId="20577"/>
          <ac:spMkLst>
            <pc:docMk/>
            <pc:sldMk cId="2256189527" sldId="3546"/>
            <ac:spMk id="36" creationId="{1E230AB8-25D6-450D-8BD8-B0E161407186}"/>
          </ac:spMkLst>
        </pc:spChg>
        <pc:spChg chg="del">
          <ac:chgData name="Annette Ysland Ludvigsen" userId="5cc2156a-4192-4fe6-8372-bcf947567e0f" providerId="ADAL" clId="{83C5B975-F26D-414E-9131-DF85FD8BC002}" dt="2021-06-16T08:03:01.933" v="32" actId="21"/>
          <ac:spMkLst>
            <pc:docMk/>
            <pc:sldMk cId="2256189527" sldId="3546"/>
            <ac:spMk id="39" creationId="{0725F763-24B1-4075-8749-FD9325A1AF81}"/>
          </ac:spMkLst>
        </pc:spChg>
        <pc:spChg chg="del">
          <ac:chgData name="Annette Ysland Ludvigsen" userId="5cc2156a-4192-4fe6-8372-bcf947567e0f" providerId="ADAL" clId="{83C5B975-F26D-414E-9131-DF85FD8BC002}" dt="2021-06-16T08:03:01.933" v="32" actId="21"/>
          <ac:spMkLst>
            <pc:docMk/>
            <pc:sldMk cId="2256189527" sldId="3546"/>
            <ac:spMk id="40" creationId="{04A3178F-4E18-4CE5-971D-1E3500224C19}"/>
          </ac:spMkLst>
        </pc:spChg>
        <pc:spChg chg="add mod">
          <ac:chgData name="Annette Ysland Ludvigsen" userId="5cc2156a-4192-4fe6-8372-bcf947567e0f" providerId="ADAL" clId="{83C5B975-F26D-414E-9131-DF85FD8BC002}" dt="2021-06-16T08:00:57.239" v="19" actId="14100"/>
          <ac:spMkLst>
            <pc:docMk/>
            <pc:sldMk cId="2256189527" sldId="3546"/>
            <ac:spMk id="44" creationId="{ED5AAC8A-20E7-4B09-A4D5-FAE70CC5990D}"/>
          </ac:spMkLst>
        </pc:spChg>
        <pc:spChg chg="add mod">
          <ac:chgData name="Annette Ysland Ludvigsen" userId="5cc2156a-4192-4fe6-8372-bcf947567e0f" providerId="ADAL" clId="{83C5B975-F26D-414E-9131-DF85FD8BC002}" dt="2021-06-17T09:07:52.409" v="4136" actId="14100"/>
          <ac:spMkLst>
            <pc:docMk/>
            <pc:sldMk cId="2256189527" sldId="3546"/>
            <ac:spMk id="45" creationId="{83DF5CFC-DEB5-4D28-8ED6-BC8B24F8864F}"/>
          </ac:spMkLst>
        </pc:spChg>
        <pc:spChg chg="mod">
          <ac:chgData name="Annette Ysland Ludvigsen" userId="5cc2156a-4192-4fe6-8372-bcf947567e0f" providerId="ADAL" clId="{83C5B975-F26D-414E-9131-DF85FD8BC002}" dt="2021-06-16T11:06:27.714" v="2173" actId="14100"/>
          <ac:spMkLst>
            <pc:docMk/>
            <pc:sldMk cId="2256189527" sldId="3546"/>
            <ac:spMk id="112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08:01:56.564" v="26" actId="1076"/>
          <ac:spMkLst>
            <pc:docMk/>
            <pc:sldMk cId="2256189527" sldId="3546"/>
            <ac:spMk id="118" creationId="{5DF0A21D-D503-4B4C-BD09-DC82DB4C6848}"/>
          </ac:spMkLst>
        </pc:spChg>
        <pc:picChg chg="add mod ord">
          <ac:chgData name="Annette Ysland Ludvigsen" userId="5cc2156a-4192-4fe6-8372-bcf947567e0f" providerId="ADAL" clId="{83C5B975-F26D-414E-9131-DF85FD8BC002}" dt="2021-06-16T11:06:18.456" v="2167" actId="167"/>
          <ac:picMkLst>
            <pc:docMk/>
            <pc:sldMk cId="2256189527" sldId="3546"/>
            <ac:picMk id="47" creationId="{93C59631-1A92-4AC1-B950-5D136C92D477}"/>
          </ac:picMkLst>
        </pc:picChg>
        <pc:cxnChg chg="mod">
          <ac:chgData name="Annette Ysland Ludvigsen" userId="5cc2156a-4192-4fe6-8372-bcf947567e0f" providerId="ADAL" clId="{83C5B975-F26D-414E-9131-DF85FD8BC002}" dt="2021-06-16T08:01:56.564" v="26" actId="1076"/>
          <ac:cxnSpMkLst>
            <pc:docMk/>
            <pc:sldMk cId="2256189527" sldId="3546"/>
            <ac:cxnSpMk id="32" creationId="{AB6F172F-8F70-4F15-BB8A-2A5FBCFCED7D}"/>
          </ac:cxnSpMkLst>
        </pc:cxnChg>
        <pc:cxnChg chg="mod">
          <ac:chgData name="Annette Ysland Ludvigsen" userId="5cc2156a-4192-4fe6-8372-bcf947567e0f" providerId="ADAL" clId="{83C5B975-F26D-414E-9131-DF85FD8BC002}" dt="2021-06-16T08:01:56.564" v="26" actId="1076"/>
          <ac:cxnSpMkLst>
            <pc:docMk/>
            <pc:sldMk cId="2256189527" sldId="3546"/>
            <ac:cxnSpMk id="38" creationId="{42B526F7-70A0-4EB1-BC42-6656DA45AFF8}"/>
          </ac:cxnSpMkLst>
        </pc:cxnChg>
        <pc:cxnChg chg="mod">
          <ac:chgData name="Annette Ysland Ludvigsen" userId="5cc2156a-4192-4fe6-8372-bcf947567e0f" providerId="ADAL" clId="{83C5B975-F26D-414E-9131-DF85FD8BC002}" dt="2021-06-16T08:01:56.564" v="26" actId="1076"/>
          <ac:cxnSpMkLst>
            <pc:docMk/>
            <pc:sldMk cId="2256189527" sldId="3546"/>
            <ac:cxnSpMk id="107" creationId="{867F0CC5-B63E-463B-A9AC-19FC90385BF0}"/>
          </ac:cxnSpMkLst>
        </pc:cxnChg>
        <pc:cxnChg chg="mod">
          <ac:chgData name="Annette Ysland Ludvigsen" userId="5cc2156a-4192-4fe6-8372-bcf947567e0f" providerId="ADAL" clId="{83C5B975-F26D-414E-9131-DF85FD8BC002}" dt="2021-06-16T08:01:56.564" v="26" actId="1076"/>
          <ac:cxnSpMkLst>
            <pc:docMk/>
            <pc:sldMk cId="2256189527" sldId="3546"/>
            <ac:cxnSpMk id="141" creationId="{D72F803F-5591-456B-BAF1-7589A573F07B}"/>
          </ac:cxnSpMkLst>
        </pc:cxnChg>
      </pc:sldChg>
      <pc:sldChg chg="modSp mod">
        <pc:chgData name="Annette Ysland Ludvigsen" userId="5cc2156a-4192-4fe6-8372-bcf947567e0f" providerId="ADAL" clId="{83C5B975-F26D-414E-9131-DF85FD8BC002}" dt="2021-06-23T06:41:48.726" v="5483" actId="27636"/>
        <pc:sldMkLst>
          <pc:docMk/>
          <pc:sldMk cId="2657797721" sldId="3548"/>
        </pc:sldMkLst>
        <pc:spChg chg="mod">
          <ac:chgData name="Annette Ysland Ludvigsen" userId="5cc2156a-4192-4fe6-8372-bcf947567e0f" providerId="ADAL" clId="{83C5B975-F26D-414E-9131-DF85FD8BC002}" dt="2021-06-17T09:10:35.980" v="4184" actId="20577"/>
          <ac:spMkLst>
            <pc:docMk/>
            <pc:sldMk cId="2657797721" sldId="3548"/>
            <ac:spMk id="2" creationId="{90BA2F0A-9D8F-40E4-B51B-11D526390FC5}"/>
          </ac:spMkLst>
        </pc:spChg>
        <pc:spChg chg="mod">
          <ac:chgData name="Annette Ysland Ludvigsen" userId="5cc2156a-4192-4fe6-8372-bcf947567e0f" providerId="ADAL" clId="{83C5B975-F26D-414E-9131-DF85FD8BC002}" dt="2021-06-23T06:41:48.726" v="5483" actId="27636"/>
          <ac:spMkLst>
            <pc:docMk/>
            <pc:sldMk cId="2657797721" sldId="3548"/>
            <ac:spMk id="3" creationId="{EDE1B92B-B0DF-45D1-9A50-84189FB7892D}"/>
          </ac:spMkLst>
        </pc:spChg>
      </pc:sldChg>
      <pc:sldChg chg="modSp mod">
        <pc:chgData name="Annette Ysland Ludvigsen" userId="5cc2156a-4192-4fe6-8372-bcf947567e0f" providerId="ADAL" clId="{83C5B975-F26D-414E-9131-DF85FD8BC002}" dt="2021-06-16T11:59:12.231" v="3137" actId="20577"/>
        <pc:sldMkLst>
          <pc:docMk/>
          <pc:sldMk cId="2027705525" sldId="3550"/>
        </pc:sldMkLst>
        <pc:spChg chg="mod">
          <ac:chgData name="Annette Ysland Ludvigsen" userId="5cc2156a-4192-4fe6-8372-bcf947567e0f" providerId="ADAL" clId="{83C5B975-F26D-414E-9131-DF85FD8BC002}" dt="2021-06-16T11:59:12.231" v="3137" actId="20577"/>
          <ac:spMkLst>
            <pc:docMk/>
            <pc:sldMk cId="2027705525" sldId="3550"/>
            <ac:spMk id="3" creationId="{1C7A9D0E-D8CD-4ADB-AE1E-26621D57CE32}"/>
          </ac:spMkLst>
        </pc:spChg>
      </pc:sldChg>
      <pc:sldChg chg="addSp modSp mod ord">
        <pc:chgData name="Annette Ysland Ludvigsen" userId="5cc2156a-4192-4fe6-8372-bcf947567e0f" providerId="ADAL" clId="{83C5B975-F26D-414E-9131-DF85FD8BC002}" dt="2021-06-16T13:07:04.488" v="3937"/>
        <pc:sldMkLst>
          <pc:docMk/>
          <pc:sldMk cId="406569202" sldId="3552"/>
        </pc:sldMkLst>
        <pc:spChg chg="mod">
          <ac:chgData name="Annette Ysland Ludvigsen" userId="5cc2156a-4192-4fe6-8372-bcf947567e0f" providerId="ADAL" clId="{83C5B975-F26D-414E-9131-DF85FD8BC002}" dt="2021-06-16T12:21:00.837" v="3881" actId="207"/>
          <ac:spMkLst>
            <pc:docMk/>
            <pc:sldMk cId="406569202" sldId="3552"/>
            <ac:spMk id="2" creationId="{AA37D9B7-D16B-48B1-952E-13DD9261B7F6}"/>
          </ac:spMkLst>
        </pc:spChg>
        <pc:picChg chg="add mod ord">
          <ac:chgData name="Annette Ysland Ludvigsen" userId="5cc2156a-4192-4fe6-8372-bcf947567e0f" providerId="ADAL" clId="{83C5B975-F26D-414E-9131-DF85FD8BC002}" dt="2021-06-16T12:20:55.871" v="3879" actId="167"/>
          <ac:picMkLst>
            <pc:docMk/>
            <pc:sldMk cId="406569202" sldId="3552"/>
            <ac:picMk id="7" creationId="{F660AA00-1D6A-47EB-86A3-7ABAA0B8D505}"/>
          </ac:picMkLst>
        </pc:picChg>
      </pc:sldChg>
      <pc:sldChg chg="addSp modSp mod modAnim">
        <pc:chgData name="Annette Ysland Ludvigsen" userId="5cc2156a-4192-4fe6-8372-bcf947567e0f" providerId="ADAL" clId="{83C5B975-F26D-414E-9131-DF85FD8BC002}" dt="2021-06-21T10:17:36.697" v="4895" actId="20577"/>
        <pc:sldMkLst>
          <pc:docMk/>
          <pc:sldMk cId="2199471749" sldId="3553"/>
        </pc:sldMkLst>
        <pc:spChg chg="mod ord">
          <ac:chgData name="Annette Ysland Ludvigsen" userId="5cc2156a-4192-4fe6-8372-bcf947567e0f" providerId="ADAL" clId="{83C5B975-F26D-414E-9131-DF85FD8BC002}" dt="2021-06-16T12:20:40.041" v="3873" actId="14100"/>
          <ac:spMkLst>
            <pc:docMk/>
            <pc:sldMk cId="2199471749" sldId="3553"/>
            <ac:spMk id="2" creationId="{CB687EBF-0D56-4512-883F-235BD2CC5AE7}"/>
          </ac:spMkLst>
        </pc:spChg>
        <pc:spChg chg="mod">
          <ac:chgData name="Annette Ysland Ludvigsen" userId="5cc2156a-4192-4fe6-8372-bcf947567e0f" providerId="ADAL" clId="{83C5B975-F26D-414E-9131-DF85FD8BC002}" dt="2021-06-21T10:17:36.697" v="4895" actId="20577"/>
          <ac:spMkLst>
            <pc:docMk/>
            <pc:sldMk cId="2199471749" sldId="3553"/>
            <ac:spMk id="3" creationId="{A6E6C814-64E8-4B41-BAA4-60D24C56B256}"/>
          </ac:spMkLst>
        </pc:spChg>
        <pc:picChg chg="add mod">
          <ac:chgData name="Annette Ysland Ludvigsen" userId="5cc2156a-4192-4fe6-8372-bcf947567e0f" providerId="ADAL" clId="{83C5B975-F26D-414E-9131-DF85FD8BC002}" dt="2021-06-16T12:20:28.889" v="3869"/>
          <ac:picMkLst>
            <pc:docMk/>
            <pc:sldMk cId="2199471749" sldId="3553"/>
            <ac:picMk id="4" creationId="{7DC33218-AB15-4EB0-8A24-AF7B363B753C}"/>
          </ac:picMkLst>
        </pc:picChg>
      </pc:sldChg>
      <pc:sldChg chg="modSp mod">
        <pc:chgData name="Annette Ysland Ludvigsen" userId="5cc2156a-4192-4fe6-8372-bcf947567e0f" providerId="ADAL" clId="{83C5B975-F26D-414E-9131-DF85FD8BC002}" dt="2021-06-21T20:03:25.116" v="5214" actId="20577"/>
        <pc:sldMkLst>
          <pc:docMk/>
          <pc:sldMk cId="1426443385" sldId="3554"/>
        </pc:sldMkLst>
        <pc:spChg chg="mod">
          <ac:chgData name="Annette Ysland Ludvigsen" userId="5cc2156a-4192-4fe6-8372-bcf947567e0f" providerId="ADAL" clId="{83C5B975-F26D-414E-9131-DF85FD8BC002}" dt="2021-06-21T20:03:25.116" v="5214" actId="20577"/>
          <ac:spMkLst>
            <pc:docMk/>
            <pc:sldMk cId="1426443385" sldId="3554"/>
            <ac:spMk id="3" creationId="{EDE1B92B-B0DF-45D1-9A50-84189FB7892D}"/>
          </ac:spMkLst>
        </pc:spChg>
      </pc:sldChg>
      <pc:sldChg chg="addSp delSp modSp mod delAnim modAnim">
        <pc:chgData name="Annette Ysland Ludvigsen" userId="5cc2156a-4192-4fe6-8372-bcf947567e0f" providerId="ADAL" clId="{83C5B975-F26D-414E-9131-DF85FD8BC002}" dt="2021-06-21T10:13:48.682" v="4842"/>
        <pc:sldMkLst>
          <pc:docMk/>
          <pc:sldMk cId="2216956745" sldId="3556"/>
        </pc:sldMkLst>
        <pc:spChg chg="mod">
          <ac:chgData name="Annette Ysland Ludvigsen" userId="5cc2156a-4192-4fe6-8372-bcf947567e0f" providerId="ADAL" clId="{83C5B975-F26D-414E-9131-DF85FD8BC002}" dt="2021-06-16T12:17:35.462" v="3751" actId="14100"/>
          <ac:spMkLst>
            <pc:docMk/>
            <pc:sldMk cId="2216956745" sldId="3556"/>
            <ac:spMk id="2" creationId="{111A2F35-F743-4E63-BF3B-AA76E3027FD5}"/>
          </ac:spMkLst>
        </pc:spChg>
        <pc:spChg chg="add mod">
          <ac:chgData name="Annette Ysland Ludvigsen" userId="5cc2156a-4192-4fe6-8372-bcf947567e0f" providerId="ADAL" clId="{83C5B975-F26D-414E-9131-DF85FD8BC002}" dt="2021-06-16T08:26:56.562" v="832" actId="1076"/>
          <ac:spMkLst>
            <pc:docMk/>
            <pc:sldMk cId="2216956745" sldId="3556"/>
            <ac:spMk id="5" creationId="{261767C8-A779-403C-8363-9EC600D92DB1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7" creationId="{EEE00D87-B21E-4F8D-A0C9-0C4E86F5830F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8" creationId="{15445C18-C4F5-40D9-8EA6-97EBE69A881A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9" creationId="{AD19E2C2-7BEC-4C7F-97AA-6BF1F076F606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0" creationId="{19D4BECC-D30D-4BE1-8591-BD09130F9A4B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1" creationId="{3D3688AC-9DC4-4EFF-A899-A6C32B113AC5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2" creationId="{BAFF0CF8-354E-4CDE-A1BE-FA5E07597468}"/>
          </ac:spMkLst>
        </pc:spChg>
        <pc:spChg chg="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3" creationId="{48314E76-FF7D-4E8D-B468-AB766C1C23E2}"/>
          </ac:spMkLst>
        </pc:spChg>
        <pc:spChg chg="add mod">
          <ac:chgData name="Annette Ysland Ludvigsen" userId="5cc2156a-4192-4fe6-8372-bcf947567e0f" providerId="ADAL" clId="{83C5B975-F26D-414E-9131-DF85FD8BC002}" dt="2021-06-21T10:11:39.039" v="4800" actId="1076"/>
          <ac:spMkLst>
            <pc:docMk/>
            <pc:sldMk cId="2216956745" sldId="3556"/>
            <ac:spMk id="15" creationId="{4ABF412D-2EE0-4D65-9493-2122E5A28852}"/>
          </ac:spMkLst>
        </pc:spChg>
        <pc:spChg chg="add mod ord">
          <ac:chgData name="Annette Ysland Ludvigsen" userId="5cc2156a-4192-4fe6-8372-bcf947567e0f" providerId="ADAL" clId="{83C5B975-F26D-414E-9131-DF85FD8BC002}" dt="2021-06-21T10:10:31.675" v="4765" actId="1076"/>
          <ac:spMkLst>
            <pc:docMk/>
            <pc:sldMk cId="2216956745" sldId="3556"/>
            <ac:spMk id="16" creationId="{4BA99C4B-CE6F-47E3-9BFA-2C8B48B84088}"/>
          </ac:spMkLst>
        </pc:spChg>
        <pc:spChg chg="add mod">
          <ac:chgData name="Annette Ysland Ludvigsen" userId="5cc2156a-4192-4fe6-8372-bcf947567e0f" providerId="ADAL" clId="{83C5B975-F26D-414E-9131-DF85FD8BC002}" dt="2021-06-21T10:11:57.290" v="4804" actId="1076"/>
          <ac:spMkLst>
            <pc:docMk/>
            <pc:sldMk cId="2216956745" sldId="3556"/>
            <ac:spMk id="17" creationId="{809F2C11-67E3-4D8F-92FB-89F712D7EF9B}"/>
          </ac:spMkLst>
        </pc:spChg>
        <pc:spChg chg="add 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8" creationId="{FD8388BF-2E95-4C89-ABBE-11197FDAE55D}"/>
          </ac:spMkLst>
        </pc:spChg>
        <pc:spChg chg="add 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19" creationId="{72030805-7A7A-47CA-92BE-5E0E01A8ABF3}"/>
          </ac:spMkLst>
        </pc:spChg>
        <pc:spChg chg="add mod">
          <ac:chgData name="Annette Ysland Ludvigsen" userId="5cc2156a-4192-4fe6-8372-bcf947567e0f" providerId="ADAL" clId="{83C5B975-F26D-414E-9131-DF85FD8BC002}" dt="2021-06-16T08:56:00.751" v="1381"/>
          <ac:spMkLst>
            <pc:docMk/>
            <pc:sldMk cId="2216956745" sldId="3556"/>
            <ac:spMk id="20" creationId="{11769C21-5C8A-4318-97E1-D0744297D94B}"/>
          </ac:spMkLst>
        </pc:spChg>
        <pc:spChg chg="add mod ord">
          <ac:chgData name="Annette Ysland Ludvigsen" userId="5cc2156a-4192-4fe6-8372-bcf947567e0f" providerId="ADAL" clId="{83C5B975-F26D-414E-9131-DF85FD8BC002}" dt="2021-06-21T10:11:14.740" v="4785" actId="166"/>
          <ac:spMkLst>
            <pc:docMk/>
            <pc:sldMk cId="2216956745" sldId="3556"/>
            <ac:spMk id="21" creationId="{4AEC2E8A-87A0-44BA-9121-077A6F3738AE}"/>
          </ac:spMkLst>
        </pc:spChg>
        <pc:spChg chg="add mod">
          <ac:chgData name="Annette Ysland Ludvigsen" userId="5cc2156a-4192-4fe6-8372-bcf947567e0f" providerId="ADAL" clId="{83C5B975-F26D-414E-9131-DF85FD8BC002}" dt="2021-06-16T08:57:57.468" v="1414" actId="1076"/>
          <ac:spMkLst>
            <pc:docMk/>
            <pc:sldMk cId="2216956745" sldId="3556"/>
            <ac:spMk id="22" creationId="{CE79B09E-9E73-4D23-99D6-8B0A3E2E3E69}"/>
          </ac:spMkLst>
        </pc:spChg>
        <pc:spChg chg="add mod">
          <ac:chgData name="Annette Ysland Ludvigsen" userId="5cc2156a-4192-4fe6-8372-bcf947567e0f" providerId="ADAL" clId="{83C5B975-F26D-414E-9131-DF85FD8BC002}" dt="2021-06-16T08:58:01.008" v="1415" actId="1076"/>
          <ac:spMkLst>
            <pc:docMk/>
            <pc:sldMk cId="2216956745" sldId="3556"/>
            <ac:spMk id="25" creationId="{13D34F51-FAD8-4AB5-863B-859E1EC13B87}"/>
          </ac:spMkLst>
        </pc:spChg>
        <pc:spChg chg="add mod">
          <ac:chgData name="Annette Ysland Ludvigsen" userId="5cc2156a-4192-4fe6-8372-bcf947567e0f" providerId="ADAL" clId="{83C5B975-F26D-414E-9131-DF85FD8BC002}" dt="2021-06-21T10:10:23.476" v="4763" actId="20577"/>
          <ac:spMkLst>
            <pc:docMk/>
            <pc:sldMk cId="2216956745" sldId="3556"/>
            <ac:spMk id="33" creationId="{ECF3AC9B-3CAC-4046-B561-917E1533FA52}"/>
          </ac:spMkLst>
        </pc:spChg>
        <pc:spChg chg="add mod">
          <ac:chgData name="Annette Ysland Ludvigsen" userId="5cc2156a-4192-4fe6-8372-bcf947567e0f" providerId="ADAL" clId="{83C5B975-F26D-414E-9131-DF85FD8BC002}" dt="2021-06-21T10:11:17.626" v="4786" actId="1076"/>
          <ac:spMkLst>
            <pc:docMk/>
            <pc:sldMk cId="2216956745" sldId="3556"/>
            <ac:spMk id="40" creationId="{0BE7FA0D-33B3-4B05-96C3-AEC8B10ABA92}"/>
          </ac:spMkLst>
        </pc:spChg>
        <pc:spChg chg="add mod">
          <ac:chgData name="Annette Ysland Ludvigsen" userId="5cc2156a-4192-4fe6-8372-bcf947567e0f" providerId="ADAL" clId="{83C5B975-F26D-414E-9131-DF85FD8BC002}" dt="2021-06-16T08:59:52.862" v="1460" actId="1076"/>
          <ac:spMkLst>
            <pc:docMk/>
            <pc:sldMk cId="2216956745" sldId="3556"/>
            <ac:spMk id="44" creationId="{16A1CDEB-FDB2-41FB-B5BA-05364C807D2A}"/>
          </ac:spMkLst>
        </pc:spChg>
        <pc:spChg chg="add mod">
          <ac:chgData name="Annette Ysland Ludvigsen" userId="5cc2156a-4192-4fe6-8372-bcf947567e0f" providerId="ADAL" clId="{83C5B975-F26D-414E-9131-DF85FD8BC002}" dt="2021-06-16T08:59:34.215" v="1455" actId="14100"/>
          <ac:spMkLst>
            <pc:docMk/>
            <pc:sldMk cId="2216956745" sldId="3556"/>
            <ac:spMk id="45" creationId="{E7CAFD35-70B2-423C-9D15-9D49E126ED8F}"/>
          </ac:spMkLst>
        </pc:spChg>
        <pc:spChg chg="add mod">
          <ac:chgData name="Annette Ysland Ludvigsen" userId="5cc2156a-4192-4fe6-8372-bcf947567e0f" providerId="ADAL" clId="{83C5B975-F26D-414E-9131-DF85FD8BC002}" dt="2021-06-16T08:59:41.845" v="1458" actId="1076"/>
          <ac:spMkLst>
            <pc:docMk/>
            <pc:sldMk cId="2216956745" sldId="3556"/>
            <ac:spMk id="46" creationId="{DAEE5462-6C36-494D-9176-6F10B76C53ED}"/>
          </ac:spMkLst>
        </pc:spChg>
        <pc:spChg chg="add mod ord">
          <ac:chgData name="Annette Ysland Ludvigsen" userId="5cc2156a-4192-4fe6-8372-bcf947567e0f" providerId="ADAL" clId="{83C5B975-F26D-414E-9131-DF85FD8BC002}" dt="2021-06-21T10:10:34.602" v="4766" actId="166"/>
          <ac:spMkLst>
            <pc:docMk/>
            <pc:sldMk cId="2216956745" sldId="3556"/>
            <ac:spMk id="47" creationId="{C2BB70B5-9865-48D8-8D53-BFCB68F98B49}"/>
          </ac:spMkLst>
        </pc:spChg>
        <pc:spChg chg="add mod ord">
          <ac:chgData name="Annette Ysland Ludvigsen" userId="5cc2156a-4192-4fe6-8372-bcf947567e0f" providerId="ADAL" clId="{83C5B975-F26D-414E-9131-DF85FD8BC002}" dt="2021-06-21T10:10:51.565" v="4767" actId="166"/>
          <ac:spMkLst>
            <pc:docMk/>
            <pc:sldMk cId="2216956745" sldId="3556"/>
            <ac:spMk id="48" creationId="{0C5D6474-DECE-4484-A2C9-23C0B64B4730}"/>
          </ac:spMkLst>
        </pc:spChg>
        <pc:spChg chg="add mod">
          <ac:chgData name="Annette Ysland Ludvigsen" userId="5cc2156a-4192-4fe6-8372-bcf947567e0f" providerId="ADAL" clId="{83C5B975-F26D-414E-9131-DF85FD8BC002}" dt="2021-06-16T09:52:09.797" v="1525" actId="1076"/>
          <ac:spMkLst>
            <pc:docMk/>
            <pc:sldMk cId="2216956745" sldId="3556"/>
            <ac:spMk id="49" creationId="{C7606FA9-897F-4BAE-8534-2CD04B545994}"/>
          </ac:spMkLst>
        </pc:spChg>
        <pc:spChg chg="add del mod">
          <ac:chgData name="Annette Ysland Ludvigsen" userId="5cc2156a-4192-4fe6-8372-bcf947567e0f" providerId="ADAL" clId="{83C5B975-F26D-414E-9131-DF85FD8BC002}" dt="2021-06-16T09:52:05.532" v="1524" actId="478"/>
          <ac:spMkLst>
            <pc:docMk/>
            <pc:sldMk cId="2216956745" sldId="3556"/>
            <ac:spMk id="50" creationId="{BA5FDFAC-7AFF-4CC5-A9D1-72394B0B1AAE}"/>
          </ac:spMkLst>
        </pc:spChg>
        <pc:spChg chg="add mod ord">
          <ac:chgData name="Annette Ysland Ludvigsen" userId="5cc2156a-4192-4fe6-8372-bcf947567e0f" providerId="ADAL" clId="{83C5B975-F26D-414E-9131-DF85FD8BC002}" dt="2021-06-21T10:11:32.338" v="4799" actId="1076"/>
          <ac:spMkLst>
            <pc:docMk/>
            <pc:sldMk cId="2216956745" sldId="3556"/>
            <ac:spMk id="54" creationId="{B900D8B2-563A-49F9-AD63-6DB31CD26C35}"/>
          </ac:spMkLst>
        </pc:spChg>
        <pc:spChg chg="add mod ord">
          <ac:chgData name="Annette Ysland Ludvigsen" userId="5cc2156a-4192-4fe6-8372-bcf947567e0f" providerId="ADAL" clId="{83C5B975-F26D-414E-9131-DF85FD8BC002}" dt="2021-06-21T10:13:00.835" v="4838" actId="1076"/>
          <ac:spMkLst>
            <pc:docMk/>
            <pc:sldMk cId="2216956745" sldId="3556"/>
            <ac:spMk id="55" creationId="{0BD00695-6E12-442A-9BC6-35FE81332914}"/>
          </ac:spMkLst>
        </pc:spChg>
        <pc:spChg chg="add mod ord">
          <ac:chgData name="Annette Ysland Ludvigsen" userId="5cc2156a-4192-4fe6-8372-bcf947567e0f" providerId="ADAL" clId="{83C5B975-F26D-414E-9131-DF85FD8BC002}" dt="2021-06-21T10:12:51.363" v="4834" actId="1076"/>
          <ac:spMkLst>
            <pc:docMk/>
            <pc:sldMk cId="2216956745" sldId="3556"/>
            <ac:spMk id="57" creationId="{1DAEA2DE-92C0-4658-AC06-5C3C78F098AA}"/>
          </ac:spMkLst>
        </pc:spChg>
        <pc:spChg chg="add mod ord">
          <ac:chgData name="Annette Ysland Ludvigsen" userId="5cc2156a-4192-4fe6-8372-bcf947567e0f" providerId="ADAL" clId="{83C5B975-F26D-414E-9131-DF85FD8BC002}" dt="2021-06-21T10:12:38.307" v="4829" actId="167"/>
          <ac:spMkLst>
            <pc:docMk/>
            <pc:sldMk cId="2216956745" sldId="3556"/>
            <ac:spMk id="58" creationId="{37EE31F6-2CF4-41B8-9820-3ADB5F6F439F}"/>
          </ac:spMkLst>
        </pc:spChg>
        <pc:spChg chg="add mod ord">
          <ac:chgData name="Annette Ysland Ludvigsen" userId="5cc2156a-4192-4fe6-8372-bcf947567e0f" providerId="ADAL" clId="{83C5B975-F26D-414E-9131-DF85FD8BC002}" dt="2021-06-21T10:12:19.420" v="4825" actId="167"/>
          <ac:spMkLst>
            <pc:docMk/>
            <pc:sldMk cId="2216956745" sldId="3556"/>
            <ac:spMk id="60" creationId="{A634ABCF-7CAD-480E-A3AB-DA6DBD57AB34}"/>
          </ac:spMkLst>
        </pc:spChg>
        <pc:grpChg chg="add del mod">
          <ac:chgData name="Annette Ysland Ludvigsen" userId="5cc2156a-4192-4fe6-8372-bcf947567e0f" providerId="ADAL" clId="{83C5B975-F26D-414E-9131-DF85FD8BC002}" dt="2021-06-18T06:28:20.060" v="4415" actId="478"/>
          <ac:grpSpMkLst>
            <pc:docMk/>
            <pc:sldMk cId="2216956745" sldId="3556"/>
            <ac:grpSpMk id="6" creationId="{1E65ADB9-04D9-47F0-B2F1-819888C553F9}"/>
          </ac:grpSpMkLst>
        </pc:grpChg>
        <pc:picChg chg="del mod">
          <ac:chgData name="Annette Ysland Ludvigsen" userId="5cc2156a-4192-4fe6-8372-bcf947567e0f" providerId="ADAL" clId="{83C5B975-F26D-414E-9131-DF85FD8BC002}" dt="2021-06-16T08:59:56.206" v="1461" actId="478"/>
          <ac:picMkLst>
            <pc:docMk/>
            <pc:sldMk cId="2216956745" sldId="3556"/>
            <ac:picMk id="4" creationId="{488E811C-5857-477E-A9F8-E261EA1FBF6B}"/>
          </ac:picMkLst>
        </pc:picChg>
        <pc:picChg chg="add mod ord">
          <ac:chgData name="Annette Ysland Ludvigsen" userId="5cc2156a-4192-4fe6-8372-bcf947567e0f" providerId="ADAL" clId="{83C5B975-F26D-414E-9131-DF85FD8BC002}" dt="2021-06-16T12:15:27.603" v="3591" actId="167"/>
          <ac:picMkLst>
            <pc:docMk/>
            <pc:sldMk cId="2216956745" sldId="3556"/>
            <ac:picMk id="51" creationId="{5233E961-2E4B-42C4-AACD-017DDAB433FF}"/>
          </ac:picMkLst>
        </pc:picChg>
        <pc:cxnChg chg="mod">
          <ac:chgData name="Annette Ysland Ludvigsen" userId="5cc2156a-4192-4fe6-8372-bcf947567e0f" providerId="ADAL" clId="{83C5B975-F26D-414E-9131-DF85FD8BC002}" dt="2021-06-16T08:56:00.751" v="1381"/>
          <ac:cxnSpMkLst>
            <pc:docMk/>
            <pc:sldMk cId="2216956745" sldId="3556"/>
            <ac:cxnSpMk id="14" creationId="{D0A9E901-2D1B-4C94-84B3-F8310572A92A}"/>
          </ac:cxnSpMkLst>
        </pc:cxnChg>
        <pc:cxnChg chg="add del mod">
          <ac:chgData name="Annette Ysland Ludvigsen" userId="5cc2156a-4192-4fe6-8372-bcf947567e0f" providerId="ADAL" clId="{83C5B975-F26D-414E-9131-DF85FD8BC002}" dt="2021-06-18T06:28:18.150" v="4413" actId="478"/>
          <ac:cxnSpMkLst>
            <pc:docMk/>
            <pc:sldMk cId="2216956745" sldId="3556"/>
            <ac:cxnSpMk id="23" creationId="{4B5BACF9-5108-4402-B907-8C2CD0CEF58C}"/>
          </ac:cxnSpMkLst>
        </pc:cxnChg>
        <pc:cxnChg chg="add del mod">
          <ac:chgData name="Annette Ysland Ludvigsen" userId="5cc2156a-4192-4fe6-8372-bcf947567e0f" providerId="ADAL" clId="{83C5B975-F26D-414E-9131-DF85FD8BC002}" dt="2021-06-18T06:28:19.620" v="4414" actId="478"/>
          <ac:cxnSpMkLst>
            <pc:docMk/>
            <pc:sldMk cId="2216956745" sldId="3556"/>
            <ac:cxnSpMk id="24" creationId="{731D76E3-9853-4EE5-942C-AEB8A1EB774E}"/>
          </ac:cxnSpMkLst>
        </pc:cxnChg>
        <pc:cxnChg chg="add del mod">
          <ac:chgData name="Annette Ysland Ludvigsen" userId="5cc2156a-4192-4fe6-8372-bcf947567e0f" providerId="ADAL" clId="{83C5B975-F26D-414E-9131-DF85FD8BC002}" dt="2021-06-18T06:28:14.390" v="4408" actId="478"/>
          <ac:cxnSpMkLst>
            <pc:docMk/>
            <pc:sldMk cId="2216956745" sldId="3556"/>
            <ac:cxnSpMk id="26" creationId="{E4E40016-B3F5-4E1C-B382-9E68DD1FEA16}"/>
          </ac:cxnSpMkLst>
        </pc:cxnChg>
        <pc:cxnChg chg="add del mod">
          <ac:chgData name="Annette Ysland Ludvigsen" userId="5cc2156a-4192-4fe6-8372-bcf947567e0f" providerId="ADAL" clId="{83C5B975-F26D-414E-9131-DF85FD8BC002}" dt="2021-06-18T06:28:17.435" v="4412" actId="478"/>
          <ac:cxnSpMkLst>
            <pc:docMk/>
            <pc:sldMk cId="2216956745" sldId="3556"/>
            <ac:cxnSpMk id="27" creationId="{1459E0DA-D8DC-42C7-A287-AE297B56EAED}"/>
          </ac:cxnSpMkLst>
        </pc:cxnChg>
        <pc:cxnChg chg="add del mod">
          <ac:chgData name="Annette Ysland Ludvigsen" userId="5cc2156a-4192-4fe6-8372-bcf947567e0f" providerId="ADAL" clId="{83C5B975-F26D-414E-9131-DF85FD8BC002}" dt="2021-06-18T06:28:16.532" v="4411" actId="478"/>
          <ac:cxnSpMkLst>
            <pc:docMk/>
            <pc:sldMk cId="2216956745" sldId="3556"/>
            <ac:cxnSpMk id="28" creationId="{719A3853-170B-4651-88CF-4ED5B4375D62}"/>
          </ac:cxnSpMkLst>
        </pc:cxnChg>
        <pc:cxnChg chg="add del mod">
          <ac:chgData name="Annette Ysland Ludvigsen" userId="5cc2156a-4192-4fe6-8372-bcf947567e0f" providerId="ADAL" clId="{83C5B975-F26D-414E-9131-DF85FD8BC002}" dt="2021-06-18T06:28:15.759" v="4410" actId="478"/>
          <ac:cxnSpMkLst>
            <pc:docMk/>
            <pc:sldMk cId="2216956745" sldId="3556"/>
            <ac:cxnSpMk id="29" creationId="{F25A09DA-8B32-467E-B891-69025F31F04C}"/>
          </ac:cxnSpMkLst>
        </pc:cxnChg>
        <pc:cxnChg chg="add del mod">
          <ac:chgData name="Annette Ysland Ludvigsen" userId="5cc2156a-4192-4fe6-8372-bcf947567e0f" providerId="ADAL" clId="{83C5B975-F26D-414E-9131-DF85FD8BC002}" dt="2021-06-18T06:28:15.100" v="4409" actId="478"/>
          <ac:cxnSpMkLst>
            <pc:docMk/>
            <pc:sldMk cId="2216956745" sldId="3556"/>
            <ac:cxnSpMk id="30" creationId="{05D0F9E0-873B-4D4D-825F-9C1B87612138}"/>
          </ac:cxnSpMkLst>
        </pc:cxnChg>
        <pc:cxnChg chg="add mod">
          <ac:chgData name="Annette Ysland Ludvigsen" userId="5cc2156a-4192-4fe6-8372-bcf947567e0f" providerId="ADAL" clId="{83C5B975-F26D-414E-9131-DF85FD8BC002}" dt="2021-06-21T10:11:39.039" v="4800" actId="1076"/>
          <ac:cxnSpMkLst>
            <pc:docMk/>
            <pc:sldMk cId="2216956745" sldId="3556"/>
            <ac:cxnSpMk id="36" creationId="{5304E7AC-F410-4FD7-8420-1C7DEFEF63AE}"/>
          </ac:cxnSpMkLst>
        </pc:cxnChg>
        <pc:cxnChg chg="add mod">
          <ac:chgData name="Annette Ysland Ludvigsen" userId="5cc2156a-4192-4fe6-8372-bcf947567e0f" providerId="ADAL" clId="{83C5B975-F26D-414E-9131-DF85FD8BC002}" dt="2021-06-21T10:11:39.039" v="4800" actId="1076"/>
          <ac:cxnSpMkLst>
            <pc:docMk/>
            <pc:sldMk cId="2216956745" sldId="3556"/>
            <ac:cxnSpMk id="39" creationId="{4DF1F8BD-A71A-4FAF-8561-6FD98DB1AFA3}"/>
          </ac:cxnSpMkLst>
        </pc:cxnChg>
        <pc:cxnChg chg="add mod">
          <ac:chgData name="Annette Ysland Ludvigsen" userId="5cc2156a-4192-4fe6-8372-bcf947567e0f" providerId="ADAL" clId="{83C5B975-F26D-414E-9131-DF85FD8BC002}" dt="2021-06-21T10:11:39.039" v="4800" actId="1076"/>
          <ac:cxnSpMkLst>
            <pc:docMk/>
            <pc:sldMk cId="2216956745" sldId="3556"/>
            <ac:cxnSpMk id="42" creationId="{43F8E980-CD8E-4280-B17C-C70CBDE702D4}"/>
          </ac:cxnSpMkLst>
        </pc:cxnChg>
        <pc:cxnChg chg="add mod">
          <ac:chgData name="Annette Ysland Ludvigsen" userId="5cc2156a-4192-4fe6-8372-bcf947567e0f" providerId="ADAL" clId="{83C5B975-F26D-414E-9131-DF85FD8BC002}" dt="2021-06-21T10:11:57.290" v="4804" actId="1076"/>
          <ac:cxnSpMkLst>
            <pc:docMk/>
            <pc:sldMk cId="2216956745" sldId="3556"/>
            <ac:cxnSpMk id="50" creationId="{FA47F2A4-37C1-4032-A4F0-77FBF46601CB}"/>
          </ac:cxnSpMkLst>
        </pc:cxnChg>
        <pc:cxnChg chg="add mod">
          <ac:chgData name="Annette Ysland Ludvigsen" userId="5cc2156a-4192-4fe6-8372-bcf947567e0f" providerId="ADAL" clId="{83C5B975-F26D-414E-9131-DF85FD8BC002}" dt="2021-06-21T10:10:31.675" v="4765" actId="1076"/>
          <ac:cxnSpMkLst>
            <pc:docMk/>
            <pc:sldMk cId="2216956745" sldId="3556"/>
            <ac:cxnSpMk id="52" creationId="{0BBCFDF3-22DE-44C0-B68F-68DC8DBBD80E}"/>
          </ac:cxnSpMkLst>
        </pc:cxnChg>
        <pc:cxnChg chg="add mod">
          <ac:chgData name="Annette Ysland Ludvigsen" userId="5cc2156a-4192-4fe6-8372-bcf947567e0f" providerId="ADAL" clId="{83C5B975-F26D-414E-9131-DF85FD8BC002}" dt="2021-06-21T10:10:31.675" v="4765" actId="1076"/>
          <ac:cxnSpMkLst>
            <pc:docMk/>
            <pc:sldMk cId="2216956745" sldId="3556"/>
            <ac:cxnSpMk id="53" creationId="{57288DAC-786E-4D89-84E2-6E95C14220AF}"/>
          </ac:cxnSpMkLst>
        </pc:cxnChg>
        <pc:cxnChg chg="add mod">
          <ac:chgData name="Annette Ysland Ludvigsen" userId="5cc2156a-4192-4fe6-8372-bcf947567e0f" providerId="ADAL" clId="{83C5B975-F26D-414E-9131-DF85FD8BC002}" dt="2021-06-21T10:10:31.675" v="4765" actId="1076"/>
          <ac:cxnSpMkLst>
            <pc:docMk/>
            <pc:sldMk cId="2216956745" sldId="3556"/>
            <ac:cxnSpMk id="56" creationId="{527D1E8B-5043-4F6C-B263-AE3C1B7D506A}"/>
          </ac:cxnSpMkLst>
        </pc:cxnChg>
        <pc:cxnChg chg="add mod">
          <ac:chgData name="Annette Ysland Ludvigsen" userId="5cc2156a-4192-4fe6-8372-bcf947567e0f" providerId="ADAL" clId="{83C5B975-F26D-414E-9131-DF85FD8BC002}" dt="2021-06-18T06:29:47.992" v="4450" actId="208"/>
          <ac:cxnSpMkLst>
            <pc:docMk/>
            <pc:sldMk cId="2216956745" sldId="3556"/>
            <ac:cxnSpMk id="59" creationId="{F454C111-050C-4B31-A796-B5D9816DCE05}"/>
          </ac:cxnSpMkLst>
        </pc:cxnChg>
      </pc:sldChg>
      <pc:sldChg chg="del">
        <pc:chgData name="Annette Ysland Ludvigsen" userId="5cc2156a-4192-4fe6-8372-bcf947567e0f" providerId="ADAL" clId="{83C5B975-F26D-414E-9131-DF85FD8BC002}" dt="2021-06-16T11:08:35.275" v="2217" actId="47"/>
        <pc:sldMkLst>
          <pc:docMk/>
          <pc:sldMk cId="1251254875" sldId="3558"/>
        </pc:sldMkLst>
      </pc:sldChg>
      <pc:sldChg chg="del">
        <pc:chgData name="Annette Ysland Ludvigsen" userId="5cc2156a-4192-4fe6-8372-bcf947567e0f" providerId="ADAL" clId="{83C5B975-F26D-414E-9131-DF85FD8BC002}" dt="2021-06-16T11:01:30.807" v="1904" actId="47"/>
        <pc:sldMkLst>
          <pc:docMk/>
          <pc:sldMk cId="1168625301" sldId="3559"/>
        </pc:sldMkLst>
      </pc:sldChg>
      <pc:sldChg chg="modSp mod">
        <pc:chgData name="Annette Ysland Ludvigsen" userId="5cc2156a-4192-4fe6-8372-bcf947567e0f" providerId="ADAL" clId="{83C5B975-F26D-414E-9131-DF85FD8BC002}" dt="2021-06-17T08:41:23.621" v="4034" actId="20577"/>
        <pc:sldMkLst>
          <pc:docMk/>
          <pc:sldMk cId="16122731" sldId="3560"/>
        </pc:sldMkLst>
        <pc:spChg chg="mod">
          <ac:chgData name="Annette Ysland Ludvigsen" userId="5cc2156a-4192-4fe6-8372-bcf947567e0f" providerId="ADAL" clId="{83C5B975-F26D-414E-9131-DF85FD8BC002}" dt="2021-06-17T08:41:23.621" v="4034" actId="20577"/>
          <ac:spMkLst>
            <pc:docMk/>
            <pc:sldMk cId="16122731" sldId="3560"/>
            <ac:spMk id="3" creationId="{9934DC0F-E05D-4CD5-A913-1046B2D2EAEE}"/>
          </ac:spMkLst>
        </pc:spChg>
      </pc:sldChg>
      <pc:sldChg chg="modSp mod">
        <pc:chgData name="Annette Ysland Ludvigsen" userId="5cc2156a-4192-4fe6-8372-bcf947567e0f" providerId="ADAL" clId="{83C5B975-F26D-414E-9131-DF85FD8BC002}" dt="2021-06-16T09:59:47.239" v="1636" actId="1076"/>
        <pc:sldMkLst>
          <pc:docMk/>
          <pc:sldMk cId="992379469" sldId="3561"/>
        </pc:sldMkLst>
        <pc:spChg chg="mod">
          <ac:chgData name="Annette Ysland Ludvigsen" userId="5cc2156a-4192-4fe6-8372-bcf947567e0f" providerId="ADAL" clId="{83C5B975-F26D-414E-9131-DF85FD8BC002}" dt="2021-06-16T09:59:47.239" v="1636" actId="1076"/>
          <ac:spMkLst>
            <pc:docMk/>
            <pc:sldMk cId="992379469" sldId="3561"/>
            <ac:spMk id="2" creationId="{F10A4442-2982-412C-938C-3A3874B98028}"/>
          </ac:spMkLst>
        </pc:spChg>
      </pc:sldChg>
      <pc:sldChg chg="addSp modSp mod ord modAnim">
        <pc:chgData name="Annette Ysland Ludvigsen" userId="5cc2156a-4192-4fe6-8372-bcf947567e0f" providerId="ADAL" clId="{83C5B975-F26D-414E-9131-DF85FD8BC002}" dt="2021-06-22T05:32:00.604" v="5320"/>
        <pc:sldMkLst>
          <pc:docMk/>
          <pc:sldMk cId="565842444" sldId="3563"/>
        </pc:sldMkLst>
        <pc:spChg chg="mod">
          <ac:chgData name="Annette Ysland Ludvigsen" userId="5cc2156a-4192-4fe6-8372-bcf947567e0f" providerId="ADAL" clId="{83C5B975-F26D-414E-9131-DF85FD8BC002}" dt="2021-06-16T11:07:29.331" v="2190" actId="1076"/>
          <ac:spMkLst>
            <pc:docMk/>
            <pc:sldMk cId="565842444" sldId="3563"/>
            <ac:spMk id="2" creationId="{5B011448-84EC-4AE9-8CAA-87B296894772}"/>
          </ac:spMkLst>
        </pc:spChg>
        <pc:spChg chg="mod">
          <ac:chgData name="Annette Ysland Ludvigsen" userId="5cc2156a-4192-4fe6-8372-bcf947567e0f" providerId="ADAL" clId="{83C5B975-F26D-414E-9131-DF85FD8BC002}" dt="2021-06-21T06:01:28.625" v="4574" actId="1076"/>
          <ac:spMkLst>
            <pc:docMk/>
            <pc:sldMk cId="565842444" sldId="3563"/>
            <ac:spMk id="9" creationId="{0FA50C7C-5A33-43C9-8D0B-37A57C21258F}"/>
          </ac:spMkLst>
        </pc:spChg>
        <pc:spChg chg="mod">
          <ac:chgData name="Annette Ysland Ludvigsen" userId="5cc2156a-4192-4fe6-8372-bcf947567e0f" providerId="ADAL" clId="{83C5B975-F26D-414E-9131-DF85FD8BC002}" dt="2021-06-22T05:29:48.097" v="5241" actId="20577"/>
          <ac:spMkLst>
            <pc:docMk/>
            <pc:sldMk cId="565842444" sldId="3563"/>
            <ac:spMk id="12" creationId="{511BE19D-1E4E-49DD-A957-4AD36DE9CD74}"/>
          </ac:spMkLst>
        </pc:spChg>
        <pc:spChg chg="mod">
          <ac:chgData name="Annette Ysland Ludvigsen" userId="5cc2156a-4192-4fe6-8372-bcf947567e0f" providerId="ADAL" clId="{83C5B975-F26D-414E-9131-DF85FD8BC002}" dt="2021-06-22T05:29:52.895" v="5258" actId="20577"/>
          <ac:spMkLst>
            <pc:docMk/>
            <pc:sldMk cId="565842444" sldId="3563"/>
            <ac:spMk id="13" creationId="{CEB0FFA2-3C7B-4EB3-914A-8AA4E6DB7128}"/>
          </ac:spMkLst>
        </pc:spChg>
        <pc:spChg chg="mod">
          <ac:chgData name="Annette Ysland Ludvigsen" userId="5cc2156a-4192-4fe6-8372-bcf947567e0f" providerId="ADAL" clId="{83C5B975-F26D-414E-9131-DF85FD8BC002}" dt="2021-06-22T05:29:56.857" v="5259" actId="14100"/>
          <ac:spMkLst>
            <pc:docMk/>
            <pc:sldMk cId="565842444" sldId="3563"/>
            <ac:spMk id="15" creationId="{67D5BD50-E909-4989-9E6D-F447191ADD31}"/>
          </ac:spMkLst>
        </pc:spChg>
        <pc:spChg chg="add mod">
          <ac:chgData name="Annette Ysland Ludvigsen" userId="5cc2156a-4192-4fe6-8372-bcf947567e0f" providerId="ADAL" clId="{83C5B975-F26D-414E-9131-DF85FD8BC002}" dt="2021-06-22T05:30:34.645" v="5294" actId="20577"/>
          <ac:spMkLst>
            <pc:docMk/>
            <pc:sldMk cId="565842444" sldId="3563"/>
            <ac:spMk id="18" creationId="{9BFAADA8-F512-4799-B35A-F1B1BA139FBC}"/>
          </ac:spMkLst>
        </pc:spChg>
        <pc:spChg chg="add mod">
          <ac:chgData name="Annette Ysland Ludvigsen" userId="5cc2156a-4192-4fe6-8372-bcf947567e0f" providerId="ADAL" clId="{83C5B975-F26D-414E-9131-DF85FD8BC002}" dt="2021-06-22T05:31:18.646" v="5312" actId="20577"/>
          <ac:spMkLst>
            <pc:docMk/>
            <pc:sldMk cId="565842444" sldId="3563"/>
            <ac:spMk id="20" creationId="{0D87F4B1-6E33-4311-B040-04F688B515DD}"/>
          </ac:spMkLst>
        </pc:spChg>
        <pc:picChg chg="mod">
          <ac:chgData name="Annette Ysland Ludvigsen" userId="5cc2156a-4192-4fe6-8372-bcf947567e0f" providerId="ADAL" clId="{83C5B975-F26D-414E-9131-DF85FD8BC002}" dt="2021-06-22T05:30:04.995" v="5260" actId="1076"/>
          <ac:picMkLst>
            <pc:docMk/>
            <pc:sldMk cId="565842444" sldId="3563"/>
            <ac:picMk id="4" creationId="{FA097DC7-EB13-4A29-A1A2-FE29341CF6E6}"/>
          </ac:picMkLst>
        </pc:picChg>
        <pc:picChg chg="add mod ord">
          <ac:chgData name="Annette Ysland Ludvigsen" userId="5cc2156a-4192-4fe6-8372-bcf947567e0f" providerId="ADAL" clId="{83C5B975-F26D-414E-9131-DF85FD8BC002}" dt="2021-06-16T11:07:20.997" v="2187" actId="167"/>
          <ac:picMkLst>
            <pc:docMk/>
            <pc:sldMk cId="565842444" sldId="3563"/>
            <ac:picMk id="16" creationId="{A49B0B23-CAEC-4927-9B49-6E6FEFCE6632}"/>
          </ac:picMkLst>
        </pc:picChg>
        <pc:picChg chg="add mod">
          <ac:chgData name="Annette Ysland Ludvigsen" userId="5cc2156a-4192-4fe6-8372-bcf947567e0f" providerId="ADAL" clId="{83C5B975-F26D-414E-9131-DF85FD8BC002}" dt="2021-06-22T05:30:21.983" v="5262" actId="1076"/>
          <ac:picMkLst>
            <pc:docMk/>
            <pc:sldMk cId="565842444" sldId="3563"/>
            <ac:picMk id="17" creationId="{EFBE4828-7300-4A6D-9799-9E2532F0CD3A}"/>
          </ac:picMkLst>
        </pc:picChg>
        <pc:picChg chg="add mod">
          <ac:chgData name="Annette Ysland Ludvigsen" userId="5cc2156a-4192-4fe6-8372-bcf947567e0f" providerId="ADAL" clId="{83C5B975-F26D-414E-9131-DF85FD8BC002}" dt="2021-06-22T05:31:14.393" v="5300" actId="1076"/>
          <ac:picMkLst>
            <pc:docMk/>
            <pc:sldMk cId="565842444" sldId="3563"/>
            <ac:picMk id="19" creationId="{5C08C177-075B-4BBB-A837-BEBEB7AFCB76}"/>
          </ac:picMkLst>
        </pc:picChg>
      </pc:sldChg>
      <pc:sldChg chg="del">
        <pc:chgData name="Annette Ysland Ludvigsen" userId="5cc2156a-4192-4fe6-8372-bcf947567e0f" providerId="ADAL" clId="{83C5B975-F26D-414E-9131-DF85FD8BC002}" dt="2021-06-16T08:12:37.257" v="214" actId="47"/>
        <pc:sldMkLst>
          <pc:docMk/>
          <pc:sldMk cId="1421936261" sldId="3565"/>
        </pc:sldMkLst>
      </pc:sldChg>
      <pc:sldChg chg="addSp modSp mod ord">
        <pc:chgData name="Annette Ysland Ludvigsen" userId="5cc2156a-4192-4fe6-8372-bcf947567e0f" providerId="ADAL" clId="{83C5B975-F26D-414E-9131-DF85FD8BC002}" dt="2021-06-16T11:08:22.937" v="2216" actId="1076"/>
        <pc:sldMkLst>
          <pc:docMk/>
          <pc:sldMk cId="370100479" sldId="3566"/>
        </pc:sldMkLst>
        <pc:spChg chg="mod">
          <ac:chgData name="Annette Ysland Ludvigsen" userId="5cc2156a-4192-4fe6-8372-bcf947567e0f" providerId="ADAL" clId="{83C5B975-F26D-414E-9131-DF85FD8BC002}" dt="2021-06-16T11:08:22.937" v="2216" actId="1076"/>
          <ac:spMkLst>
            <pc:docMk/>
            <pc:sldMk cId="370100479" sldId="3566"/>
            <ac:spMk id="2" creationId="{5B011448-84EC-4AE9-8CAA-87B296894772}"/>
          </ac:spMkLst>
        </pc:spChg>
        <pc:picChg chg="add mod ord">
          <ac:chgData name="Annette Ysland Ludvigsen" userId="5cc2156a-4192-4fe6-8372-bcf947567e0f" providerId="ADAL" clId="{83C5B975-F26D-414E-9131-DF85FD8BC002}" dt="2021-06-16T11:08:16.830" v="2214" actId="167"/>
          <ac:picMkLst>
            <pc:docMk/>
            <pc:sldMk cId="370100479" sldId="3566"/>
            <ac:picMk id="16" creationId="{1B122D20-0DDC-4AD3-A86B-F44A404094A4}"/>
          </ac:picMkLst>
        </pc:picChg>
      </pc:sldChg>
      <pc:sldChg chg="del">
        <pc:chgData name="Annette Ysland Ludvigsen" userId="5cc2156a-4192-4fe6-8372-bcf947567e0f" providerId="ADAL" clId="{83C5B975-F26D-414E-9131-DF85FD8BC002}" dt="2021-06-16T08:12:58.629" v="217" actId="47"/>
        <pc:sldMkLst>
          <pc:docMk/>
          <pc:sldMk cId="3385780700" sldId="3567"/>
        </pc:sldMkLst>
      </pc:sldChg>
      <pc:sldChg chg="addSp delSp modSp mod delAnim modAnim">
        <pc:chgData name="Annette Ysland Ludvigsen" userId="5cc2156a-4192-4fe6-8372-bcf947567e0f" providerId="ADAL" clId="{83C5B975-F26D-414E-9131-DF85FD8BC002}" dt="2021-06-22T21:23:51.439" v="5454"/>
        <pc:sldMkLst>
          <pc:docMk/>
          <pc:sldMk cId="1476696746" sldId="3568"/>
        </pc:sldMkLst>
        <pc:spChg chg="mod">
          <ac:chgData name="Annette Ysland Ludvigsen" userId="5cc2156a-4192-4fe6-8372-bcf947567e0f" providerId="ADAL" clId="{83C5B975-F26D-414E-9131-DF85FD8BC002}" dt="2021-06-22T21:22:44.831" v="5440" actId="1076"/>
          <ac:spMkLst>
            <pc:docMk/>
            <pc:sldMk cId="1476696746" sldId="3568"/>
            <ac:spMk id="11" creationId="{55D7EB9B-D336-47B9-90A2-2686EE0D131F}"/>
          </ac:spMkLst>
        </pc:spChg>
        <pc:spChg chg="add mod">
          <ac:chgData name="Annette Ysland Ludvigsen" userId="5cc2156a-4192-4fe6-8372-bcf947567e0f" providerId="ADAL" clId="{83C5B975-F26D-414E-9131-DF85FD8BC002}" dt="2021-06-22T21:22:49.157" v="5441" actId="1076"/>
          <ac:spMkLst>
            <pc:docMk/>
            <pc:sldMk cId="1476696746" sldId="3568"/>
            <ac:spMk id="12" creationId="{8A566E3B-B184-494F-8754-BAAE9F1C6E08}"/>
          </ac:spMkLst>
        </pc:spChg>
        <pc:spChg chg="add mod">
          <ac:chgData name="Annette Ysland Ludvigsen" userId="5cc2156a-4192-4fe6-8372-bcf947567e0f" providerId="ADAL" clId="{83C5B975-F26D-414E-9131-DF85FD8BC002}" dt="2021-06-22T21:22:40.233" v="5439"/>
          <ac:spMkLst>
            <pc:docMk/>
            <pc:sldMk cId="1476696746" sldId="3568"/>
            <ac:spMk id="13" creationId="{98565884-77F5-486B-BBF4-C63CD87C785F}"/>
          </ac:spMkLst>
        </pc:spChg>
        <pc:spChg chg="del">
          <ac:chgData name="Annette Ysland Ludvigsen" userId="5cc2156a-4192-4fe6-8372-bcf947567e0f" providerId="ADAL" clId="{83C5B975-F26D-414E-9131-DF85FD8BC002}" dt="2021-06-17T12:30:21.122" v="4192" actId="478"/>
          <ac:spMkLst>
            <pc:docMk/>
            <pc:sldMk cId="1476696746" sldId="3568"/>
            <ac:spMk id="28" creationId="{6A1F1CBD-33F4-42BA-8369-A9AC869397E8}"/>
          </ac:spMkLst>
        </pc:spChg>
        <pc:graphicFrameChg chg="mod">
          <ac:chgData name="Annette Ysland Ludvigsen" userId="5cc2156a-4192-4fe6-8372-bcf947567e0f" providerId="ADAL" clId="{83C5B975-F26D-414E-9131-DF85FD8BC002}" dt="2021-06-22T21:22:28.863" v="5436" actId="20577"/>
          <ac:graphicFrameMkLst>
            <pc:docMk/>
            <pc:sldMk cId="1476696746" sldId="3568"/>
            <ac:graphicFrameMk id="22" creationId="{BB5580F0-CC64-4464-A71C-D6FF4D3CF8C5}"/>
          </ac:graphicFrameMkLst>
        </pc:graphicFrameChg>
      </pc:sldChg>
      <pc:sldChg chg="addSp modSp mod ord modAnim">
        <pc:chgData name="Annette Ysland Ludvigsen" userId="5cc2156a-4192-4fe6-8372-bcf947567e0f" providerId="ADAL" clId="{83C5B975-F26D-414E-9131-DF85FD8BC002}" dt="2021-06-18T06:38:01.193" v="4454" actId="14100"/>
        <pc:sldMkLst>
          <pc:docMk/>
          <pc:sldMk cId="1482334589" sldId="4127"/>
        </pc:sldMkLst>
        <pc:spChg chg="mod">
          <ac:chgData name="Annette Ysland Ludvigsen" userId="5cc2156a-4192-4fe6-8372-bcf947567e0f" providerId="ADAL" clId="{83C5B975-F26D-414E-9131-DF85FD8BC002}" dt="2021-06-18T06:20:54.080" v="4341" actId="1035"/>
          <ac:spMkLst>
            <pc:docMk/>
            <pc:sldMk cId="1482334589" sldId="4127"/>
            <ac:spMk id="28" creationId="{22AD6308-5498-4E48-BB0B-5066FE482164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54" creationId="{99BC2B5F-5487-4015-82FD-30EE02EFA8E3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63" creationId="{DE1288E1-1783-404A-BCC7-5793585A1EB6}"/>
          </ac:spMkLst>
        </pc:spChg>
        <pc:spChg chg="add mod">
          <ac:chgData name="Annette Ysland Ludvigsen" userId="5cc2156a-4192-4fe6-8372-bcf947567e0f" providerId="ADAL" clId="{83C5B975-F26D-414E-9131-DF85FD8BC002}" dt="2021-06-18T06:20:39.850" v="4339" actId="1036"/>
          <ac:spMkLst>
            <pc:docMk/>
            <pc:sldMk cId="1482334589" sldId="4127"/>
            <ac:spMk id="66" creationId="{BF29ADEA-8286-4D1D-8446-058A6E2253C4}"/>
          </ac:spMkLst>
        </pc:spChg>
        <pc:spChg chg="add mod">
          <ac:chgData name="Annette Ysland Ludvigsen" userId="5cc2156a-4192-4fe6-8372-bcf947567e0f" providerId="ADAL" clId="{83C5B975-F26D-414E-9131-DF85FD8BC002}" dt="2021-06-16T11:58:35.602" v="3107" actId="20577"/>
          <ac:spMkLst>
            <pc:docMk/>
            <pc:sldMk cId="1482334589" sldId="4127"/>
            <ac:spMk id="67" creationId="{BEB71497-7F35-479A-91FF-65873F04D466}"/>
          </ac:spMkLst>
        </pc:spChg>
        <pc:spChg chg="add mod">
          <ac:chgData name="Annette Ysland Ludvigsen" userId="5cc2156a-4192-4fe6-8372-bcf947567e0f" providerId="ADAL" clId="{83C5B975-F26D-414E-9131-DF85FD8BC002}" dt="2021-06-16T11:58:43.960" v="3123" actId="20577"/>
          <ac:spMkLst>
            <pc:docMk/>
            <pc:sldMk cId="1482334589" sldId="4127"/>
            <ac:spMk id="71" creationId="{7C381AF7-B0F2-4DB0-92A7-D8B74B8B9787}"/>
          </ac:spMkLst>
        </pc:spChg>
        <pc:spChg chg="add mod">
          <ac:chgData name="Annette Ysland Ludvigsen" userId="5cc2156a-4192-4fe6-8372-bcf947567e0f" providerId="ADAL" clId="{83C5B975-F26D-414E-9131-DF85FD8BC002}" dt="2021-06-16T13:02:11.828" v="3902" actId="571"/>
          <ac:spMkLst>
            <pc:docMk/>
            <pc:sldMk cId="1482334589" sldId="4127"/>
            <ac:spMk id="79" creationId="{7B8CD081-0EFD-461A-BC4F-E5D687FC127E}"/>
          </ac:spMkLst>
        </pc:spChg>
        <pc:spChg chg="add mod">
          <ac:chgData name="Annette Ysland Ludvigsen" userId="5cc2156a-4192-4fe6-8372-bcf947567e0f" providerId="ADAL" clId="{83C5B975-F26D-414E-9131-DF85FD8BC002}" dt="2021-06-16T13:02:11.828" v="3902" actId="571"/>
          <ac:spMkLst>
            <pc:docMk/>
            <pc:sldMk cId="1482334589" sldId="4127"/>
            <ac:spMk id="80" creationId="{C5DD959A-219B-48BE-B5C2-9A3982658691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382" creationId="{A95503AB-E690-4961-96A3-B87E56835226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383" creationId="{E828BC33-5353-49BF-B065-DA16A64EA643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384" creationId="{D538E79F-C45A-4708-9566-077B43CC3B29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385" creationId="{653D844D-1042-483F-A464-D1BCB3A2EEDC}"/>
          </ac:spMkLst>
        </pc:spChg>
        <pc:spChg chg="mod">
          <ac:chgData name="Annette Ysland Ludvigsen" userId="5cc2156a-4192-4fe6-8372-bcf947567e0f" providerId="ADAL" clId="{83C5B975-F26D-414E-9131-DF85FD8BC002}" dt="2021-06-16T11:52:37.871" v="3023" actId="208"/>
          <ac:spMkLst>
            <pc:docMk/>
            <pc:sldMk cId="1482334589" sldId="4127"/>
            <ac:spMk id="386" creationId="{B345B32F-38F4-44D6-B50E-7AAF60E1BCBB}"/>
          </ac:spMkLst>
        </pc:spChg>
        <pc:spChg chg="mod">
          <ac:chgData name="Annette Ysland Ludvigsen" userId="5cc2156a-4192-4fe6-8372-bcf947567e0f" providerId="ADAL" clId="{83C5B975-F26D-414E-9131-DF85FD8BC002}" dt="2021-06-18T06:37:56.259" v="4453" actId="1036"/>
          <ac:spMkLst>
            <pc:docMk/>
            <pc:sldMk cId="1482334589" sldId="4127"/>
            <ac:spMk id="387" creationId="{B958144D-1AFB-4AF6-BDF5-FDE22BE081C3}"/>
          </ac:spMkLst>
        </pc:spChg>
        <pc:spChg chg="mod">
          <ac:chgData name="Annette Ysland Ludvigsen" userId="5cc2156a-4192-4fe6-8372-bcf947567e0f" providerId="ADAL" clId="{83C5B975-F26D-414E-9131-DF85FD8BC002}" dt="2021-06-18T06:19:30.336" v="4329" actId="1036"/>
          <ac:spMkLst>
            <pc:docMk/>
            <pc:sldMk cId="1482334589" sldId="4127"/>
            <ac:spMk id="391" creationId="{65ECA1EF-9B39-4D1D-8305-4BBF8F08E673}"/>
          </ac:spMkLst>
        </pc:spChg>
        <pc:spChg chg="mod">
          <ac:chgData name="Annette Ysland Ludvigsen" userId="5cc2156a-4192-4fe6-8372-bcf947567e0f" providerId="ADAL" clId="{83C5B975-F26D-414E-9131-DF85FD8BC002}" dt="2021-06-18T06:19:25.565" v="4321" actId="1036"/>
          <ac:spMkLst>
            <pc:docMk/>
            <pc:sldMk cId="1482334589" sldId="4127"/>
            <ac:spMk id="392" creationId="{F53825E8-5907-418E-96AB-DE0534A90D38}"/>
          </ac:spMkLst>
        </pc:spChg>
        <pc:spChg chg="mod">
          <ac:chgData name="Annette Ysland Ludvigsen" userId="5cc2156a-4192-4fe6-8372-bcf947567e0f" providerId="ADAL" clId="{83C5B975-F26D-414E-9131-DF85FD8BC002}" dt="2021-06-18T06:19:22.278" v="4314" actId="1036"/>
          <ac:spMkLst>
            <pc:docMk/>
            <pc:sldMk cId="1482334589" sldId="4127"/>
            <ac:spMk id="393" creationId="{8A50A012-948C-4AD3-A90B-13ECEFEF3D01}"/>
          </ac:spMkLst>
        </pc:spChg>
        <pc:spChg chg="mod">
          <ac:chgData name="Annette Ysland Ludvigsen" userId="5cc2156a-4192-4fe6-8372-bcf947567e0f" providerId="ADAL" clId="{83C5B975-F26D-414E-9131-DF85FD8BC002}" dt="2021-06-18T06:19:18.414" v="4304" actId="1036"/>
          <ac:spMkLst>
            <pc:docMk/>
            <pc:sldMk cId="1482334589" sldId="4127"/>
            <ac:spMk id="394" creationId="{D326C445-FED9-404D-A793-52BB9BE0F11A}"/>
          </ac:spMkLst>
        </pc:spChg>
        <pc:spChg chg="mod">
          <ac:chgData name="Annette Ysland Ludvigsen" userId="5cc2156a-4192-4fe6-8372-bcf947567e0f" providerId="ADAL" clId="{83C5B975-F26D-414E-9131-DF85FD8BC002}" dt="2021-06-18T06:19:15.244" v="4295" actId="1036"/>
          <ac:spMkLst>
            <pc:docMk/>
            <pc:sldMk cId="1482334589" sldId="4127"/>
            <ac:spMk id="395" creationId="{B60A3700-4CCA-4E26-80B6-20D252A05C2E}"/>
          </ac:spMkLst>
        </pc:spChg>
        <pc:spChg chg="mod">
          <ac:chgData name="Annette Ysland Ludvigsen" userId="5cc2156a-4192-4fe6-8372-bcf947567e0f" providerId="ADAL" clId="{83C5B975-F26D-414E-9131-DF85FD8BC002}" dt="2021-06-18T06:19:27.140" v="4325" actId="1036"/>
          <ac:spMkLst>
            <pc:docMk/>
            <pc:sldMk cId="1482334589" sldId="4127"/>
            <ac:spMk id="400" creationId="{19B900C6-7567-4872-9F96-694D52F8E0DD}"/>
          </ac:spMkLst>
        </pc:spChg>
        <pc:spChg chg="mod">
          <ac:chgData name="Annette Ysland Ludvigsen" userId="5cc2156a-4192-4fe6-8372-bcf947567e0f" providerId="ADAL" clId="{83C5B975-F26D-414E-9131-DF85FD8BC002}" dt="2021-06-18T06:19:12.120" v="4286" actId="1036"/>
          <ac:spMkLst>
            <pc:docMk/>
            <pc:sldMk cId="1482334589" sldId="4127"/>
            <ac:spMk id="499" creationId="{38BA52DF-34ED-400C-9B2F-927B78EF1A8B}"/>
          </ac:spMkLst>
        </pc:spChg>
        <pc:spChg chg="mod">
          <ac:chgData name="Annette Ysland Ludvigsen" userId="5cc2156a-4192-4fe6-8372-bcf947567e0f" providerId="ADAL" clId="{83C5B975-F26D-414E-9131-DF85FD8BC002}" dt="2021-06-18T06:19:09.080" v="4279" actId="1036"/>
          <ac:spMkLst>
            <pc:docMk/>
            <pc:sldMk cId="1482334589" sldId="4127"/>
            <ac:spMk id="500" creationId="{E76D3907-85CC-4AFE-8C4E-733C44D13B85}"/>
          </ac:spMkLst>
        </pc:spChg>
        <pc:spChg chg="mod">
          <ac:chgData name="Annette Ysland Ludvigsen" userId="5cc2156a-4192-4fe6-8372-bcf947567e0f" providerId="ADAL" clId="{83C5B975-F26D-414E-9131-DF85FD8BC002}" dt="2021-06-18T06:20:49.200" v="4340" actId="1076"/>
          <ac:spMkLst>
            <pc:docMk/>
            <pc:sldMk cId="1482334589" sldId="4127"/>
            <ac:spMk id="562" creationId="{D8B69CD4-B059-41FB-AC64-1BDA3219354E}"/>
          </ac:spMkLst>
        </pc:spChg>
        <pc:cxnChg chg="add mod">
          <ac:chgData name="Annette Ysland Ludvigsen" userId="5cc2156a-4192-4fe6-8372-bcf947567e0f" providerId="ADAL" clId="{83C5B975-F26D-414E-9131-DF85FD8BC002}" dt="2021-06-18T06:20:39.850" v="4339" actId="1036"/>
          <ac:cxnSpMkLst>
            <pc:docMk/>
            <pc:sldMk cId="1482334589" sldId="4127"/>
            <ac:cxnSpMk id="68" creationId="{64F97906-F14A-4BBF-84CC-466F2A09EED2}"/>
          </ac:cxnSpMkLst>
        </pc:cxnChg>
        <pc:cxnChg chg="add mod">
          <ac:chgData name="Annette Ysland Ludvigsen" userId="5cc2156a-4192-4fe6-8372-bcf947567e0f" providerId="ADAL" clId="{83C5B975-F26D-414E-9131-DF85FD8BC002}" dt="2021-06-16T11:58:52.089" v="3126" actId="14100"/>
          <ac:cxnSpMkLst>
            <pc:docMk/>
            <pc:sldMk cId="1482334589" sldId="4127"/>
            <ac:cxnSpMk id="72" creationId="{4BA76305-BCA4-4682-A9A8-08559D4121E0}"/>
          </ac:cxnSpMkLst>
        </pc:cxnChg>
        <pc:cxnChg chg="add mod">
          <ac:chgData name="Annette Ysland Ludvigsen" userId="5cc2156a-4192-4fe6-8372-bcf947567e0f" providerId="ADAL" clId="{83C5B975-F26D-414E-9131-DF85FD8BC002}" dt="2021-06-18T06:20:36.010" v="4338" actId="14100"/>
          <ac:cxnSpMkLst>
            <pc:docMk/>
            <pc:sldMk cId="1482334589" sldId="4127"/>
            <ac:cxnSpMk id="75" creationId="{378D4B1A-304E-4E55-BD9F-2AFDA5FAF9FC}"/>
          </ac:cxnSpMkLst>
        </pc:cxnChg>
        <pc:cxnChg chg="mod">
          <ac:chgData name="Annette Ysland Ludvigsen" userId="5cc2156a-4192-4fe6-8372-bcf947567e0f" providerId="ADAL" clId="{83C5B975-F26D-414E-9131-DF85FD8BC002}" dt="2021-06-18T06:20:54.080" v="4341" actId="1035"/>
          <ac:cxnSpMkLst>
            <pc:docMk/>
            <pc:sldMk cId="1482334589" sldId="4127"/>
            <ac:cxnSpMk id="403" creationId="{FA9FFD72-F399-40B5-A629-4E357137A9E0}"/>
          </ac:cxnSpMkLst>
        </pc:cxnChg>
        <pc:cxnChg chg="mod">
          <ac:chgData name="Annette Ysland Ludvigsen" userId="5cc2156a-4192-4fe6-8372-bcf947567e0f" providerId="ADAL" clId="{83C5B975-F26D-414E-9131-DF85FD8BC002}" dt="2021-06-16T08:07:14.795" v="58" actId="1076"/>
          <ac:cxnSpMkLst>
            <pc:docMk/>
            <pc:sldMk cId="1482334589" sldId="4127"/>
            <ac:cxnSpMk id="419" creationId="{F619F429-F861-4497-A3E1-880F95784A9A}"/>
          </ac:cxnSpMkLst>
        </pc:cxnChg>
        <pc:cxnChg chg="mod">
          <ac:chgData name="Annette Ysland Ludvigsen" userId="5cc2156a-4192-4fe6-8372-bcf947567e0f" providerId="ADAL" clId="{83C5B975-F26D-414E-9131-DF85FD8BC002}" dt="2021-06-16T08:07:17.389" v="59" actId="1076"/>
          <ac:cxnSpMkLst>
            <pc:docMk/>
            <pc:sldMk cId="1482334589" sldId="4127"/>
            <ac:cxnSpMk id="425" creationId="{C7A3AED2-C561-40AB-9EE5-DDD0C0C59060}"/>
          </ac:cxnSpMkLst>
        </pc:cxnChg>
        <pc:cxnChg chg="mod">
          <ac:chgData name="Annette Ysland Ludvigsen" userId="5cc2156a-4192-4fe6-8372-bcf947567e0f" providerId="ADAL" clId="{83C5B975-F26D-414E-9131-DF85FD8BC002}" dt="2021-06-16T11:52:37.871" v="3023" actId="208"/>
          <ac:cxnSpMkLst>
            <pc:docMk/>
            <pc:sldMk cId="1482334589" sldId="4127"/>
            <ac:cxnSpMk id="428" creationId="{87D88754-9570-436F-B6A2-F6624DC76D3A}"/>
          </ac:cxnSpMkLst>
        </pc:cxnChg>
        <pc:cxnChg chg="mod">
          <ac:chgData name="Annette Ysland Ludvigsen" userId="5cc2156a-4192-4fe6-8372-bcf947567e0f" providerId="ADAL" clId="{83C5B975-F26D-414E-9131-DF85FD8BC002}" dt="2021-06-16T11:52:37.871" v="3023" actId="208"/>
          <ac:cxnSpMkLst>
            <pc:docMk/>
            <pc:sldMk cId="1482334589" sldId="4127"/>
            <ac:cxnSpMk id="434" creationId="{545271CD-7047-4590-AEBD-DE58CAF5936D}"/>
          </ac:cxnSpMkLst>
        </pc:cxnChg>
        <pc:cxnChg chg="mod">
          <ac:chgData name="Annette Ysland Ludvigsen" userId="5cc2156a-4192-4fe6-8372-bcf947567e0f" providerId="ADAL" clId="{83C5B975-F26D-414E-9131-DF85FD8BC002}" dt="2021-06-16T11:52:37.871" v="3023" actId="208"/>
          <ac:cxnSpMkLst>
            <pc:docMk/>
            <pc:sldMk cId="1482334589" sldId="4127"/>
            <ac:cxnSpMk id="437" creationId="{82F418E0-661B-4DA0-90C4-78058A7B2B5A}"/>
          </ac:cxnSpMkLst>
        </pc:cxnChg>
        <pc:cxnChg chg="mod">
          <ac:chgData name="Annette Ysland Ludvigsen" userId="5cc2156a-4192-4fe6-8372-bcf947567e0f" providerId="ADAL" clId="{83C5B975-F26D-414E-9131-DF85FD8BC002}" dt="2021-06-16T11:52:37.871" v="3023" actId="208"/>
          <ac:cxnSpMkLst>
            <pc:docMk/>
            <pc:sldMk cId="1482334589" sldId="4127"/>
            <ac:cxnSpMk id="440" creationId="{60E148A4-A5EB-45D6-9828-2CF8D443C843}"/>
          </ac:cxnSpMkLst>
        </pc:cxnChg>
        <pc:cxnChg chg="mod">
          <ac:chgData name="Annette Ysland Ludvigsen" userId="5cc2156a-4192-4fe6-8372-bcf947567e0f" providerId="ADAL" clId="{83C5B975-F26D-414E-9131-DF85FD8BC002}" dt="2021-06-16T11:52:37.871" v="3023" actId="208"/>
          <ac:cxnSpMkLst>
            <pc:docMk/>
            <pc:sldMk cId="1482334589" sldId="4127"/>
            <ac:cxnSpMk id="443" creationId="{389D2DCA-B306-4BBE-A955-30CB133F49CA}"/>
          </ac:cxnSpMkLst>
        </pc:cxnChg>
        <pc:cxnChg chg="mod">
          <ac:chgData name="Annette Ysland Ludvigsen" userId="5cc2156a-4192-4fe6-8372-bcf947567e0f" providerId="ADAL" clId="{83C5B975-F26D-414E-9131-DF85FD8BC002}" dt="2021-06-18T06:38:01.193" v="4454" actId="14100"/>
          <ac:cxnSpMkLst>
            <pc:docMk/>
            <pc:sldMk cId="1482334589" sldId="4127"/>
            <ac:cxnSpMk id="446" creationId="{988C2B93-E770-4C78-89B6-0AE332E93800}"/>
          </ac:cxnSpMkLst>
        </pc:cxnChg>
        <pc:cxnChg chg="mod">
          <ac:chgData name="Annette Ysland Ludvigsen" userId="5cc2156a-4192-4fe6-8372-bcf947567e0f" providerId="ADAL" clId="{83C5B975-F26D-414E-9131-DF85FD8BC002}" dt="2021-06-18T06:19:55.810" v="4332" actId="14100"/>
          <ac:cxnSpMkLst>
            <pc:docMk/>
            <pc:sldMk cId="1482334589" sldId="4127"/>
            <ac:cxnSpMk id="458" creationId="{F130D529-B7BD-4EB6-9EF2-CB0B81FAD182}"/>
          </ac:cxnSpMkLst>
        </pc:cxnChg>
        <pc:cxnChg chg="mod">
          <ac:chgData name="Annette Ysland Ludvigsen" userId="5cc2156a-4192-4fe6-8372-bcf947567e0f" providerId="ADAL" clId="{83C5B975-F26D-414E-9131-DF85FD8BC002}" dt="2021-06-18T06:19:27.140" v="4325" actId="1036"/>
          <ac:cxnSpMkLst>
            <pc:docMk/>
            <pc:sldMk cId="1482334589" sldId="4127"/>
            <ac:cxnSpMk id="461" creationId="{947828DC-3453-47DD-9ADB-274E9D3591D8}"/>
          </ac:cxnSpMkLst>
        </pc:cxnChg>
        <pc:cxnChg chg="mod">
          <ac:chgData name="Annette Ysland Ludvigsen" userId="5cc2156a-4192-4fe6-8372-bcf947567e0f" providerId="ADAL" clId="{83C5B975-F26D-414E-9131-DF85FD8BC002}" dt="2021-06-18T06:19:59.071" v="4333" actId="14100"/>
          <ac:cxnSpMkLst>
            <pc:docMk/>
            <pc:sldMk cId="1482334589" sldId="4127"/>
            <ac:cxnSpMk id="464" creationId="{05E474E3-EE96-4A48-B143-656311D98D8C}"/>
          </ac:cxnSpMkLst>
        </pc:cxnChg>
        <pc:cxnChg chg="mod">
          <ac:chgData name="Annette Ysland Ludvigsen" userId="5cc2156a-4192-4fe6-8372-bcf947567e0f" providerId="ADAL" clId="{83C5B975-F26D-414E-9131-DF85FD8BC002}" dt="2021-06-18T06:19:52.280" v="4331" actId="14100"/>
          <ac:cxnSpMkLst>
            <pc:docMk/>
            <pc:sldMk cId="1482334589" sldId="4127"/>
            <ac:cxnSpMk id="467" creationId="{488F964B-753B-4A38-A074-AFB9948496F6}"/>
          </ac:cxnSpMkLst>
        </pc:cxnChg>
        <pc:cxnChg chg="mod">
          <ac:chgData name="Annette Ysland Ludvigsen" userId="5cc2156a-4192-4fe6-8372-bcf947567e0f" providerId="ADAL" clId="{83C5B975-F26D-414E-9131-DF85FD8BC002}" dt="2021-06-18T06:20:54.080" v="4341" actId="1035"/>
          <ac:cxnSpMkLst>
            <pc:docMk/>
            <pc:sldMk cId="1482334589" sldId="4127"/>
            <ac:cxnSpMk id="470" creationId="{1C3C5587-0493-472E-94ED-905C54126A87}"/>
          </ac:cxnSpMkLst>
        </pc:cxnChg>
        <pc:cxnChg chg="mod">
          <ac:chgData name="Annette Ysland Ludvigsen" userId="5cc2156a-4192-4fe6-8372-bcf947567e0f" providerId="ADAL" clId="{83C5B975-F26D-414E-9131-DF85FD8BC002}" dt="2021-06-18T06:20:59.340" v="4342" actId="14100"/>
          <ac:cxnSpMkLst>
            <pc:docMk/>
            <pc:sldMk cId="1482334589" sldId="4127"/>
            <ac:cxnSpMk id="473" creationId="{B632FAD0-9CB1-49B7-842C-004680C1E112}"/>
          </ac:cxnSpMkLst>
        </pc:cxnChg>
        <pc:cxnChg chg="mod">
          <ac:chgData name="Annette Ysland Ludvigsen" userId="5cc2156a-4192-4fe6-8372-bcf947567e0f" providerId="ADAL" clId="{83C5B975-F26D-414E-9131-DF85FD8BC002}" dt="2021-06-18T06:20:49.200" v="4340" actId="1076"/>
          <ac:cxnSpMkLst>
            <pc:docMk/>
            <pc:sldMk cId="1482334589" sldId="4127"/>
            <ac:cxnSpMk id="566" creationId="{38DD957F-BC27-496E-92F3-A86C719F6DE3}"/>
          </ac:cxnSpMkLst>
        </pc:cxnChg>
        <pc:cxnChg chg="mod">
          <ac:chgData name="Annette Ysland Ludvigsen" userId="5cc2156a-4192-4fe6-8372-bcf947567e0f" providerId="ADAL" clId="{83C5B975-F26D-414E-9131-DF85FD8BC002}" dt="2021-06-18T06:21:14.530" v="4346" actId="1037"/>
          <ac:cxnSpMkLst>
            <pc:docMk/>
            <pc:sldMk cId="1482334589" sldId="4127"/>
            <ac:cxnSpMk id="569" creationId="{E42474C1-E6F5-4E70-A206-51FD68CE2A35}"/>
          </ac:cxnSpMkLst>
        </pc:cxnChg>
        <pc:cxnChg chg="mod">
          <ac:chgData name="Annette Ysland Ludvigsen" userId="5cc2156a-4192-4fe6-8372-bcf947567e0f" providerId="ADAL" clId="{83C5B975-F26D-414E-9131-DF85FD8BC002}" dt="2021-06-18T06:21:06.250" v="4344" actId="14100"/>
          <ac:cxnSpMkLst>
            <pc:docMk/>
            <pc:sldMk cId="1482334589" sldId="4127"/>
            <ac:cxnSpMk id="572" creationId="{A4E72127-0C75-4AA7-A730-A64C2F96CC31}"/>
          </ac:cxnSpMkLst>
        </pc:cxnChg>
      </pc:sldChg>
      <pc:sldChg chg="addSp modSp mod ord modAnim">
        <pc:chgData name="Annette Ysland Ludvigsen" userId="5cc2156a-4192-4fe6-8372-bcf947567e0f" providerId="ADAL" clId="{83C5B975-F26D-414E-9131-DF85FD8BC002}" dt="2021-06-18T08:16:48.284" v="4468" actId="20577"/>
        <pc:sldMkLst>
          <pc:docMk/>
          <pc:sldMk cId="4025255733" sldId="4128"/>
        </pc:sldMkLst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13" creationId="{1FBA5DFD-6801-4C7B-B1CA-79F7FC4B44A0}"/>
          </ac:spMkLst>
        </pc:spChg>
        <pc:spChg chg="add mod">
          <ac:chgData name="Annette Ysland Ludvigsen" userId="5cc2156a-4192-4fe6-8372-bcf947567e0f" providerId="ADAL" clId="{83C5B975-F26D-414E-9131-DF85FD8BC002}" dt="2021-06-18T08:16:48.284" v="4468" actId="20577"/>
          <ac:spMkLst>
            <pc:docMk/>
            <pc:sldMk cId="4025255733" sldId="4128"/>
            <ac:spMk id="55" creationId="{FB081A1A-68B5-47D5-9612-F4A7C288B9E8}"/>
          </ac:spMkLst>
        </pc:spChg>
        <pc:spChg chg="add mod">
          <ac:chgData name="Annette Ysland Ludvigsen" userId="5cc2156a-4192-4fe6-8372-bcf947567e0f" providerId="ADAL" clId="{83C5B975-F26D-414E-9131-DF85FD8BC002}" dt="2021-06-18T06:18:05.579" v="4267" actId="20577"/>
          <ac:spMkLst>
            <pc:docMk/>
            <pc:sldMk cId="4025255733" sldId="4128"/>
            <ac:spMk id="56" creationId="{56A8ECB4-0BD3-426A-90FE-97D7E7B7C4AC}"/>
          </ac:spMkLst>
        </pc:spChg>
        <pc:spChg chg="add mod">
          <ac:chgData name="Annette Ysland Ludvigsen" userId="5cc2156a-4192-4fe6-8372-bcf947567e0f" providerId="ADAL" clId="{83C5B975-F26D-414E-9131-DF85FD8BC002}" dt="2021-06-16T08:04:20.544" v="41" actId="571"/>
          <ac:spMkLst>
            <pc:docMk/>
            <pc:sldMk cId="4025255733" sldId="4128"/>
            <ac:spMk id="59" creationId="{5FF05572-9BE4-4A65-85D9-13FC67CAD0B8}"/>
          </ac:spMkLst>
        </pc:spChg>
        <pc:spChg chg="add mod">
          <ac:chgData name="Annette Ysland Ludvigsen" userId="5cc2156a-4192-4fe6-8372-bcf947567e0f" providerId="ADAL" clId="{83C5B975-F26D-414E-9131-DF85FD8BC002}" dt="2021-06-16T08:04:20.544" v="41" actId="571"/>
          <ac:spMkLst>
            <pc:docMk/>
            <pc:sldMk cId="4025255733" sldId="4128"/>
            <ac:spMk id="60" creationId="{0D17F041-2649-4DF0-B4FF-EB2B93F50BDE}"/>
          </ac:spMkLst>
        </pc:spChg>
        <pc:spChg chg="add mod">
          <ac:chgData name="Annette Ysland Ludvigsen" userId="5cc2156a-4192-4fe6-8372-bcf947567e0f" providerId="ADAL" clId="{83C5B975-F26D-414E-9131-DF85FD8BC002}" dt="2021-06-16T08:04:20.544" v="41" actId="571"/>
          <ac:spMkLst>
            <pc:docMk/>
            <pc:sldMk cId="4025255733" sldId="4128"/>
            <ac:spMk id="61" creationId="{B39AA327-A116-438A-BCE4-B038718A0091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134" creationId="{84BAE53F-E334-4874-BBE1-61E154EF79FE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135" creationId="{947A9CAF-9D8D-4E17-8C1A-9BE1BE68EDB2}"/>
          </ac:spMkLst>
        </pc:spChg>
        <pc:spChg chg="mod">
          <ac:chgData name="Annette Ysland Ludvigsen" userId="5cc2156a-4192-4fe6-8372-bcf947567e0f" providerId="ADAL" clId="{83C5B975-F26D-414E-9131-DF85FD8BC002}" dt="2021-06-18T06:18:35.415" v="4269" actId="1076"/>
          <ac:spMkLst>
            <pc:docMk/>
            <pc:sldMk cId="4025255733" sldId="4128"/>
            <ac:spMk id="168" creationId="{5CA5A2A1-11FE-4B34-820A-589A60792D44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78" creationId="{497BA549-D5A3-4248-A6B0-838537E6CAC0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79" creationId="{4399FBFC-06CC-4C78-88F6-6E41348EF25B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80" creationId="{AFEAB75E-53F1-4DF6-A356-A04C820C967A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81" creationId="{F7F115BC-0D23-496A-B393-72E0A8C49B93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82" creationId="{A95503AB-E690-4961-96A3-B87E56835226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83" creationId="{E828BC33-5353-49BF-B065-DA16A64EA643}"/>
          </ac:spMkLst>
        </pc:spChg>
        <pc:spChg chg="mod">
          <ac:chgData name="Annette Ysland Ludvigsen" userId="5cc2156a-4192-4fe6-8372-bcf947567e0f" providerId="ADAL" clId="{83C5B975-F26D-414E-9131-DF85FD8BC002}" dt="2021-06-16T11:49:47.639" v="3021" actId="208"/>
          <ac:spMkLst>
            <pc:docMk/>
            <pc:sldMk cId="4025255733" sldId="4128"/>
            <ac:spMk id="384" creationId="{D538E79F-C45A-4708-9566-077B43CC3B29}"/>
          </ac:spMkLst>
        </pc:spChg>
        <pc:spChg chg="mod">
          <ac:chgData name="Annette Ysland Ludvigsen" userId="5cc2156a-4192-4fe6-8372-bcf947567e0f" providerId="ADAL" clId="{83C5B975-F26D-414E-9131-DF85FD8BC002}" dt="2021-06-18T06:18:51.990" v="4273" actId="1076"/>
          <ac:spMkLst>
            <pc:docMk/>
            <pc:sldMk cId="4025255733" sldId="4128"/>
            <ac:spMk id="391" creationId="{65ECA1EF-9B39-4D1D-8305-4BBF8F08E673}"/>
          </ac:spMkLst>
        </pc:spChg>
        <pc:spChg chg="mod">
          <ac:chgData name="Annette Ysland Ludvigsen" userId="5cc2156a-4192-4fe6-8372-bcf947567e0f" providerId="ADAL" clId="{83C5B975-F26D-414E-9131-DF85FD8BC002}" dt="2021-06-18T06:18:45.770" v="4272" actId="1076"/>
          <ac:spMkLst>
            <pc:docMk/>
            <pc:sldMk cId="4025255733" sldId="4128"/>
            <ac:spMk id="400" creationId="{19B900C6-7567-4872-9F96-694D52F8E0DD}"/>
          </ac:spMkLst>
        </pc:sp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2" creationId="{626DE6C3-05D8-497D-ADBA-6EDB5A328639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3" creationId="{D4AC3A1A-F695-4929-BCC0-3C14A03429E1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4" creationId="{FF385CAD-E8FC-48AD-BEB3-8CF7E0363D93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5" creationId="{6FEB36F3-18A3-4B97-B995-FE0473AB7341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6" creationId="{DBCF633D-F509-4BEA-ACF7-23CB0B90D901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7" creationId="{B1287BF3-607B-4A48-A9E5-B9C681BA309F}"/>
          </ac:cxnSpMkLst>
        </pc:cxnChg>
        <pc:cxnChg chg="add mod">
          <ac:chgData name="Annette Ysland Ludvigsen" userId="5cc2156a-4192-4fe6-8372-bcf947567e0f" providerId="ADAL" clId="{83C5B975-F26D-414E-9131-DF85FD8BC002}" dt="2021-06-16T08:04:20.544" v="41" actId="571"/>
          <ac:cxnSpMkLst>
            <pc:docMk/>
            <pc:sldMk cId="4025255733" sldId="4128"/>
            <ac:cxnSpMk id="68" creationId="{8A2BE111-FB47-473B-88E7-6051DFCBC582}"/>
          </ac:cxnSpMkLst>
        </pc:cxnChg>
        <pc:cxnChg chg="add mod">
          <ac:chgData name="Annette Ysland Ludvigsen" userId="5cc2156a-4192-4fe6-8372-bcf947567e0f" providerId="ADAL" clId="{83C5B975-F26D-414E-9131-DF85FD8BC002}" dt="2021-06-16T08:04:41.038" v="46" actId="571"/>
          <ac:cxnSpMkLst>
            <pc:docMk/>
            <pc:sldMk cId="4025255733" sldId="4128"/>
            <ac:cxnSpMk id="69" creationId="{D67D3065-F1E0-4F5A-807C-6C2AE0BD000B}"/>
          </ac:cxnSpMkLst>
        </pc:cxnChg>
        <pc:cxnChg chg="add mod">
          <ac:chgData name="Annette Ysland Ludvigsen" userId="5cc2156a-4192-4fe6-8372-bcf947567e0f" providerId="ADAL" clId="{83C5B975-F26D-414E-9131-DF85FD8BC002}" dt="2021-06-16T08:04:41.038" v="46" actId="571"/>
          <ac:cxnSpMkLst>
            <pc:docMk/>
            <pc:sldMk cId="4025255733" sldId="4128"/>
            <ac:cxnSpMk id="70" creationId="{12D16099-F36F-498C-ACD6-B9F93CBC0A25}"/>
          </ac:cxnSpMkLst>
        </pc:cxnChg>
        <pc:cxnChg chg="add mod">
          <ac:chgData name="Annette Ysland Ludvigsen" userId="5cc2156a-4192-4fe6-8372-bcf947567e0f" providerId="ADAL" clId="{83C5B975-F26D-414E-9131-DF85FD8BC002}" dt="2021-06-16T08:04:41.038" v="46" actId="571"/>
          <ac:cxnSpMkLst>
            <pc:docMk/>
            <pc:sldMk cId="4025255733" sldId="4128"/>
            <ac:cxnSpMk id="71" creationId="{8537D457-97CB-4172-B068-0E5AFE8BFB47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136" creationId="{E1042028-D2DC-491C-A5ED-8D89E7CD2185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139" creationId="{A31669D5-3239-4618-8AE1-3B2AB347EDA2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16" creationId="{3898968F-0D32-4BE0-ADA8-30770F85B9CD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19" creationId="{F619F429-F861-4497-A3E1-880F95784A9A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20" creationId="{E96341F6-C002-446F-9555-0996EEC0C025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25" creationId="{C7A3AED2-C561-40AB-9EE5-DDD0C0C59060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28" creationId="{87D88754-9570-436F-B6A2-F6624DC76D3A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34" creationId="{545271CD-7047-4590-AEBD-DE58CAF5936D}"/>
          </ac:cxnSpMkLst>
        </pc:cxnChg>
        <pc:cxnChg chg="mod">
          <ac:chgData name="Annette Ysland Ludvigsen" userId="5cc2156a-4192-4fe6-8372-bcf947567e0f" providerId="ADAL" clId="{83C5B975-F26D-414E-9131-DF85FD8BC002}" dt="2021-06-16T11:49:47.639" v="3021" actId="208"/>
          <ac:cxnSpMkLst>
            <pc:docMk/>
            <pc:sldMk cId="4025255733" sldId="4128"/>
            <ac:cxnSpMk id="437" creationId="{82F418E0-661B-4DA0-90C4-78058A7B2B5A}"/>
          </ac:cxnSpMkLst>
        </pc:cxnChg>
        <pc:cxnChg chg="mod">
          <ac:chgData name="Annette Ysland Ludvigsen" userId="5cc2156a-4192-4fe6-8372-bcf947567e0f" providerId="ADAL" clId="{83C5B975-F26D-414E-9131-DF85FD8BC002}" dt="2021-06-18T06:18:51.990" v="4273" actId="1076"/>
          <ac:cxnSpMkLst>
            <pc:docMk/>
            <pc:sldMk cId="4025255733" sldId="4128"/>
            <ac:cxnSpMk id="458" creationId="{F130D529-B7BD-4EB6-9EF2-CB0B81FAD182}"/>
          </ac:cxnSpMkLst>
        </pc:cxnChg>
        <pc:cxnChg chg="mod">
          <ac:chgData name="Annette Ysland Ludvigsen" userId="5cc2156a-4192-4fe6-8372-bcf947567e0f" providerId="ADAL" clId="{83C5B975-F26D-414E-9131-DF85FD8BC002}" dt="2021-06-18T06:18:45.770" v="4272" actId="1076"/>
          <ac:cxnSpMkLst>
            <pc:docMk/>
            <pc:sldMk cId="4025255733" sldId="4128"/>
            <ac:cxnSpMk id="461" creationId="{947828DC-3453-47DD-9ADB-274E9D3591D8}"/>
          </ac:cxnSpMkLst>
        </pc:cxnChg>
      </pc:sldChg>
      <pc:sldChg chg="addSp delSp modSp add mod ord delAnim modAnim">
        <pc:chgData name="Annette Ysland Ludvigsen" userId="5cc2156a-4192-4fe6-8372-bcf947567e0f" providerId="ADAL" clId="{83C5B975-F26D-414E-9131-DF85FD8BC002}" dt="2021-06-16T13:04:21.929" v="3928"/>
        <pc:sldMkLst>
          <pc:docMk/>
          <pc:sldMk cId="3791859769" sldId="4129"/>
        </pc:sldMkLst>
        <pc:spChg chg="mod">
          <ac:chgData name="Annette Ysland Ludvigsen" userId="5cc2156a-4192-4fe6-8372-bcf947567e0f" providerId="ADAL" clId="{83C5B975-F26D-414E-9131-DF85FD8BC002}" dt="2021-06-16T08:10:29.687" v="76" actId="20577"/>
          <ac:spMkLst>
            <pc:docMk/>
            <pc:sldMk cId="3791859769" sldId="4129"/>
            <ac:spMk id="12" creationId="{9EEEA449-EF90-41DB-AAA1-71B83503D0AA}"/>
          </ac:spMkLst>
        </pc:spChg>
        <pc:spChg chg="mod">
          <ac:chgData name="Annette Ysland Ludvigsen" userId="5cc2156a-4192-4fe6-8372-bcf947567e0f" providerId="ADAL" clId="{83C5B975-F26D-414E-9131-DF85FD8BC002}" dt="2021-06-16T08:10:35.244" v="95" actId="20577"/>
          <ac:spMkLst>
            <pc:docMk/>
            <pc:sldMk cId="3791859769" sldId="4129"/>
            <ac:spMk id="13" creationId="{1FBA5DFD-6801-4C7B-B1CA-79F7FC4B44A0}"/>
          </ac:spMkLst>
        </pc:spChg>
        <pc:spChg chg="del">
          <ac:chgData name="Annette Ysland Ludvigsen" userId="5cc2156a-4192-4fe6-8372-bcf947567e0f" providerId="ADAL" clId="{83C5B975-F26D-414E-9131-DF85FD8BC002}" dt="2021-06-16T08:11:48.456" v="163" actId="478"/>
          <ac:spMkLst>
            <pc:docMk/>
            <pc:sldMk cId="3791859769" sldId="4129"/>
            <ac:spMk id="55" creationId="{FB081A1A-68B5-47D5-9612-F4A7C288B9E8}"/>
          </ac:spMkLst>
        </pc:spChg>
        <pc:spChg chg="del">
          <ac:chgData name="Annette Ysland Ludvigsen" userId="5cc2156a-4192-4fe6-8372-bcf947567e0f" providerId="ADAL" clId="{83C5B975-F26D-414E-9131-DF85FD8BC002}" dt="2021-06-16T08:11:33.388" v="159" actId="478"/>
          <ac:spMkLst>
            <pc:docMk/>
            <pc:sldMk cId="3791859769" sldId="4129"/>
            <ac:spMk id="56" creationId="{56A8ECB4-0BD3-426A-90FE-97D7E7B7C4AC}"/>
          </ac:spMkLst>
        </pc:spChg>
        <pc:spChg chg="mod">
          <ac:chgData name="Annette Ysland Ludvigsen" userId="5cc2156a-4192-4fe6-8372-bcf947567e0f" providerId="ADAL" clId="{83C5B975-F26D-414E-9131-DF85FD8BC002}" dt="2021-06-16T11:48:14.590" v="2981" actId="20577"/>
          <ac:spMkLst>
            <pc:docMk/>
            <pc:sldMk cId="3791859769" sldId="4129"/>
            <ac:spMk id="122" creationId="{A08538FC-46CB-4AFA-92BE-E6EB2C995F0B}"/>
          </ac:spMkLst>
        </pc:spChg>
        <pc:spChg chg="mod">
          <ac:chgData name="Annette Ysland Ludvigsen" userId="5cc2156a-4192-4fe6-8372-bcf947567e0f" providerId="ADAL" clId="{83C5B975-F26D-414E-9131-DF85FD8BC002}" dt="2021-06-16T11:48:41.802" v="3019" actId="1076"/>
          <ac:spMkLst>
            <pc:docMk/>
            <pc:sldMk cId="3791859769" sldId="4129"/>
            <ac:spMk id="123" creationId="{88016F43-90FE-46DB-A7E4-733125CB7413}"/>
          </ac:spMkLst>
        </pc:spChg>
        <pc:spChg chg="del mod">
          <ac:chgData name="Annette Ysland Ludvigsen" userId="5cc2156a-4192-4fe6-8372-bcf947567e0f" providerId="ADAL" clId="{83C5B975-F26D-414E-9131-DF85FD8BC002}" dt="2021-06-16T11:48:36.947" v="3017" actId="478"/>
          <ac:spMkLst>
            <pc:docMk/>
            <pc:sldMk cId="3791859769" sldId="4129"/>
            <ac:spMk id="124" creationId="{7AECF552-D2AA-48DD-803C-C3CDDF9E9006}"/>
          </ac:spMkLst>
        </pc:spChg>
        <pc:spChg chg="mod">
          <ac:chgData name="Annette Ysland Ludvigsen" userId="5cc2156a-4192-4fe6-8372-bcf947567e0f" providerId="ADAL" clId="{83C5B975-F26D-414E-9131-DF85FD8BC002}" dt="2021-06-16T11:47:52.859" v="2925" actId="20577"/>
          <ac:spMkLst>
            <pc:docMk/>
            <pc:sldMk cId="3791859769" sldId="4129"/>
            <ac:spMk id="134" creationId="{84BAE53F-E334-4874-BBE1-61E154EF79FE}"/>
          </ac:spMkLst>
        </pc:spChg>
        <pc:spChg chg="mod">
          <ac:chgData name="Annette Ysland Ludvigsen" userId="5cc2156a-4192-4fe6-8372-bcf947567e0f" providerId="ADAL" clId="{83C5B975-F26D-414E-9131-DF85FD8BC002}" dt="2021-06-16T11:47:58.683" v="2945" actId="20577"/>
          <ac:spMkLst>
            <pc:docMk/>
            <pc:sldMk cId="3791859769" sldId="4129"/>
            <ac:spMk id="135" creationId="{947A9CAF-9D8D-4E17-8C1A-9BE1BE68EDB2}"/>
          </ac:spMkLst>
        </pc:spChg>
        <pc:spChg chg="mod">
          <ac:chgData name="Annette Ysland Ludvigsen" userId="5cc2156a-4192-4fe6-8372-bcf947567e0f" providerId="ADAL" clId="{83C5B975-F26D-414E-9131-DF85FD8BC002}" dt="2021-06-16T08:12:05.338" v="172" actId="1076"/>
          <ac:spMkLst>
            <pc:docMk/>
            <pc:sldMk cId="3791859769" sldId="4129"/>
            <ac:spMk id="168" creationId="{5CA5A2A1-11FE-4B34-820A-589A60792D44}"/>
          </ac:spMkLst>
        </pc:spChg>
        <pc:spChg chg="mod">
          <ac:chgData name="Annette Ysland Ludvigsen" userId="5cc2156a-4192-4fe6-8372-bcf947567e0f" providerId="ADAL" clId="{83C5B975-F26D-414E-9131-DF85FD8BC002}" dt="2021-06-16T08:12:11.126" v="187" actId="20577"/>
          <ac:spMkLst>
            <pc:docMk/>
            <pc:sldMk cId="3791859769" sldId="4129"/>
            <ac:spMk id="378" creationId="{497BA549-D5A3-4248-A6B0-838537E6CAC0}"/>
          </ac:spMkLst>
        </pc:spChg>
        <pc:spChg chg="mod">
          <ac:chgData name="Annette Ysland Ludvigsen" userId="5cc2156a-4192-4fe6-8372-bcf947567e0f" providerId="ADAL" clId="{83C5B975-F26D-414E-9131-DF85FD8BC002}" dt="2021-06-16T08:12:16.397" v="206" actId="20577"/>
          <ac:spMkLst>
            <pc:docMk/>
            <pc:sldMk cId="3791859769" sldId="4129"/>
            <ac:spMk id="379" creationId="{4399FBFC-06CC-4C78-88F6-6E41348EF25B}"/>
          </ac:spMkLst>
        </pc:spChg>
        <pc:spChg chg="del">
          <ac:chgData name="Annette Ysland Ludvigsen" userId="5cc2156a-4192-4fe6-8372-bcf947567e0f" providerId="ADAL" clId="{83C5B975-F26D-414E-9131-DF85FD8BC002}" dt="2021-06-16T08:11:54.393" v="164" actId="478"/>
          <ac:spMkLst>
            <pc:docMk/>
            <pc:sldMk cId="3791859769" sldId="4129"/>
            <ac:spMk id="380" creationId="{AFEAB75E-53F1-4DF6-A356-A04C820C967A}"/>
          </ac:spMkLst>
        </pc:spChg>
        <pc:spChg chg="del">
          <ac:chgData name="Annette Ysland Ludvigsen" userId="5cc2156a-4192-4fe6-8372-bcf947567e0f" providerId="ADAL" clId="{83C5B975-F26D-414E-9131-DF85FD8BC002}" dt="2021-06-16T08:11:54.393" v="164" actId="478"/>
          <ac:spMkLst>
            <pc:docMk/>
            <pc:sldMk cId="3791859769" sldId="4129"/>
            <ac:spMk id="381" creationId="{F7F115BC-0D23-496A-B393-72E0A8C49B93}"/>
          </ac:spMkLst>
        </pc:spChg>
        <pc:spChg chg="del">
          <ac:chgData name="Annette Ysland Ludvigsen" userId="5cc2156a-4192-4fe6-8372-bcf947567e0f" providerId="ADAL" clId="{83C5B975-F26D-414E-9131-DF85FD8BC002}" dt="2021-06-16T08:11:54.393" v="164" actId="478"/>
          <ac:spMkLst>
            <pc:docMk/>
            <pc:sldMk cId="3791859769" sldId="4129"/>
            <ac:spMk id="382" creationId="{A95503AB-E690-4961-96A3-B87E56835226}"/>
          </ac:spMkLst>
        </pc:spChg>
        <pc:spChg chg="del">
          <ac:chgData name="Annette Ysland Ludvigsen" userId="5cc2156a-4192-4fe6-8372-bcf947567e0f" providerId="ADAL" clId="{83C5B975-F26D-414E-9131-DF85FD8BC002}" dt="2021-06-16T08:11:54.393" v="164" actId="478"/>
          <ac:spMkLst>
            <pc:docMk/>
            <pc:sldMk cId="3791859769" sldId="4129"/>
            <ac:spMk id="383" creationId="{E828BC33-5353-49BF-B065-DA16A64EA643}"/>
          </ac:spMkLst>
        </pc:spChg>
        <pc:spChg chg="del">
          <ac:chgData name="Annette Ysland Ludvigsen" userId="5cc2156a-4192-4fe6-8372-bcf947567e0f" providerId="ADAL" clId="{83C5B975-F26D-414E-9131-DF85FD8BC002}" dt="2021-06-16T08:11:54.393" v="164" actId="478"/>
          <ac:spMkLst>
            <pc:docMk/>
            <pc:sldMk cId="3791859769" sldId="4129"/>
            <ac:spMk id="384" creationId="{D538E79F-C45A-4708-9566-077B43CC3B29}"/>
          </ac:spMkLst>
        </pc:spChg>
        <pc:spChg chg="mod">
          <ac:chgData name="Annette Ysland Ludvigsen" userId="5cc2156a-4192-4fe6-8372-bcf947567e0f" providerId="ADAL" clId="{83C5B975-F26D-414E-9131-DF85FD8BC002}" dt="2021-06-16T08:11:16.436" v="155" actId="1076"/>
          <ac:spMkLst>
            <pc:docMk/>
            <pc:sldMk cId="3791859769" sldId="4129"/>
            <ac:spMk id="391" creationId="{65ECA1EF-9B39-4D1D-8305-4BBF8F08E673}"/>
          </ac:spMkLst>
        </pc:spChg>
        <pc:spChg chg="del">
          <ac:chgData name="Annette Ysland Ludvigsen" userId="5cc2156a-4192-4fe6-8372-bcf947567e0f" providerId="ADAL" clId="{83C5B975-F26D-414E-9131-DF85FD8BC002}" dt="2021-06-16T08:10:56.984" v="149" actId="478"/>
          <ac:spMkLst>
            <pc:docMk/>
            <pc:sldMk cId="3791859769" sldId="4129"/>
            <ac:spMk id="392" creationId="{F53825E8-5907-418E-96AB-DE0534A90D38}"/>
          </ac:spMkLst>
        </pc:spChg>
        <pc:spChg chg="del">
          <ac:chgData name="Annette Ysland Ludvigsen" userId="5cc2156a-4192-4fe6-8372-bcf947567e0f" providerId="ADAL" clId="{83C5B975-F26D-414E-9131-DF85FD8BC002}" dt="2021-06-16T08:10:56.984" v="149" actId="478"/>
          <ac:spMkLst>
            <pc:docMk/>
            <pc:sldMk cId="3791859769" sldId="4129"/>
            <ac:spMk id="393" creationId="{8A50A012-948C-4AD3-A90B-13ECEFEF3D01}"/>
          </ac:spMkLst>
        </pc:spChg>
        <pc:spChg chg="del">
          <ac:chgData name="Annette Ysland Ludvigsen" userId="5cc2156a-4192-4fe6-8372-bcf947567e0f" providerId="ADAL" clId="{83C5B975-F26D-414E-9131-DF85FD8BC002}" dt="2021-06-16T08:10:58.515" v="150" actId="478"/>
          <ac:spMkLst>
            <pc:docMk/>
            <pc:sldMk cId="3791859769" sldId="4129"/>
            <ac:spMk id="394" creationId="{D326C445-FED9-404D-A793-52BB9BE0F11A}"/>
          </ac:spMkLst>
        </pc:spChg>
        <pc:spChg chg="del">
          <ac:chgData name="Annette Ysland Ludvigsen" userId="5cc2156a-4192-4fe6-8372-bcf947567e0f" providerId="ADAL" clId="{83C5B975-F26D-414E-9131-DF85FD8BC002}" dt="2021-06-16T08:10:56.984" v="149" actId="478"/>
          <ac:spMkLst>
            <pc:docMk/>
            <pc:sldMk cId="3791859769" sldId="4129"/>
            <ac:spMk id="395" creationId="{B60A3700-4CCA-4E26-80B6-20D252A05C2E}"/>
          </ac:spMkLst>
        </pc:spChg>
        <pc:spChg chg="mod">
          <ac:chgData name="Annette Ysland Ludvigsen" userId="5cc2156a-4192-4fe6-8372-bcf947567e0f" providerId="ADAL" clId="{83C5B975-F26D-414E-9131-DF85FD8BC002}" dt="2021-06-16T08:11:12.321" v="154" actId="1076"/>
          <ac:spMkLst>
            <pc:docMk/>
            <pc:sldMk cId="3791859769" sldId="4129"/>
            <ac:spMk id="400" creationId="{19B900C6-7567-4872-9F96-694D52F8E0DD}"/>
          </ac:spMkLst>
        </pc:spChg>
        <pc:spChg chg="del">
          <ac:chgData name="Annette Ysland Ludvigsen" userId="5cc2156a-4192-4fe6-8372-bcf947567e0f" providerId="ADAL" clId="{83C5B975-F26D-414E-9131-DF85FD8BC002}" dt="2021-06-16T08:10:56.984" v="149" actId="478"/>
          <ac:spMkLst>
            <pc:docMk/>
            <pc:sldMk cId="3791859769" sldId="4129"/>
            <ac:spMk id="499" creationId="{38BA52DF-34ED-400C-9B2F-927B78EF1A8B}"/>
          </ac:spMkLst>
        </pc:spChg>
        <pc:spChg chg="del">
          <ac:chgData name="Annette Ysland Ludvigsen" userId="5cc2156a-4192-4fe6-8372-bcf947567e0f" providerId="ADAL" clId="{83C5B975-F26D-414E-9131-DF85FD8BC002}" dt="2021-06-16T08:10:56.984" v="149" actId="478"/>
          <ac:spMkLst>
            <pc:docMk/>
            <pc:sldMk cId="3791859769" sldId="4129"/>
            <ac:spMk id="500" creationId="{E76D3907-85CC-4AFE-8C4E-733C44D13B85}"/>
          </ac:spMkLst>
        </pc:spChg>
        <pc:spChg chg="mod">
          <ac:chgData name="Annette Ysland Ludvigsen" userId="5cc2156a-4192-4fe6-8372-bcf947567e0f" providerId="ADAL" clId="{83C5B975-F26D-414E-9131-DF85FD8BC002}" dt="2021-06-16T08:10:41.420" v="119" actId="20577"/>
          <ac:spMkLst>
            <pc:docMk/>
            <pc:sldMk cId="3791859769" sldId="4129"/>
            <ac:spMk id="562" creationId="{D8B69CD4-B059-41FB-AC64-1BDA3219354E}"/>
          </ac:spMkLst>
        </pc:spChg>
        <pc:cxnChg chg="mod">
          <ac:chgData name="Annette Ysland Ludvigsen" userId="5cc2156a-4192-4fe6-8372-bcf947567e0f" providerId="ADAL" clId="{83C5B975-F26D-414E-9131-DF85FD8BC002}" dt="2021-06-16T08:10:34.785" v="91" actId="20577"/>
          <ac:cxnSpMkLst>
            <pc:docMk/>
            <pc:sldMk cId="3791859769" sldId="4129"/>
            <ac:cxnSpMk id="35" creationId="{5D1E7FBA-2916-4634-AE71-F7E1EAEBF43F}"/>
          </ac:cxnSpMkLst>
        </pc:cxnChg>
        <pc:cxnChg chg="add 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57" creationId="{C7191B5C-7FB4-4D04-9E86-55CB79CDA7EA}"/>
          </ac:cxnSpMkLst>
        </pc:cxnChg>
        <pc:cxnChg chg="add 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58" creationId="{AF1C2EE7-5504-4ABD-AE9F-B2FC689C513F}"/>
          </ac:cxnSpMkLst>
        </pc:cxnChg>
        <pc:cxnChg chg="add 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59" creationId="{240C1968-9A0D-4194-B36D-25E7843987CD}"/>
          </ac:cxnSpMkLst>
        </pc:cxnChg>
        <pc:cxnChg chg="add 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60" creationId="{6214BB97-4778-47E2-90A2-B6088D5F22EF}"/>
          </ac:cxnSpMkLst>
        </pc:cxnChg>
        <pc:cxnChg chg="add 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61" creationId="{B90388CE-E1FF-4AA0-98E6-08C7A816C5B6}"/>
          </ac:cxnSpMkLst>
        </pc:cxnChg>
        <pc:cxnChg chg="mod">
          <ac:chgData name="Annette Ysland Ludvigsen" userId="5cc2156a-4192-4fe6-8372-bcf947567e0f" providerId="ADAL" clId="{83C5B975-F26D-414E-9131-DF85FD8BC002}" dt="2021-06-16T08:11:41.431" v="162" actId="1076"/>
          <ac:cxnSpMkLst>
            <pc:docMk/>
            <pc:sldMk cId="3791859769" sldId="4129"/>
            <ac:cxnSpMk id="125" creationId="{C809E2C5-B3A4-4052-B7CE-57010C6B7D27}"/>
          </ac:cxnSpMkLst>
        </pc:cxnChg>
        <pc:cxnChg chg="mod">
          <ac:chgData name="Annette Ysland Ludvigsen" userId="5cc2156a-4192-4fe6-8372-bcf947567e0f" providerId="ADAL" clId="{83C5B975-F26D-414E-9131-DF85FD8BC002}" dt="2021-06-16T11:48:41.802" v="3019" actId="1076"/>
          <ac:cxnSpMkLst>
            <pc:docMk/>
            <pc:sldMk cId="3791859769" sldId="4129"/>
            <ac:cxnSpMk id="128" creationId="{43F25810-6D8C-4D1E-B9D4-1C640C40C172}"/>
          </ac:cxnSpMkLst>
        </pc:cxnChg>
        <pc:cxnChg chg="del mod">
          <ac:chgData name="Annette Ysland Ludvigsen" userId="5cc2156a-4192-4fe6-8372-bcf947567e0f" providerId="ADAL" clId="{83C5B975-F26D-414E-9131-DF85FD8BC002}" dt="2021-06-16T11:48:38.365" v="3018" actId="478"/>
          <ac:cxnSpMkLst>
            <pc:docMk/>
            <pc:sldMk cId="3791859769" sldId="4129"/>
            <ac:cxnSpMk id="131" creationId="{FB64B794-A6E6-4C85-BE9F-49FA04E81D8A}"/>
          </ac:cxnSpMkLst>
        </pc:cxnChg>
        <pc:cxnChg chg="mod">
          <ac:chgData name="Annette Ysland Ludvigsen" userId="5cc2156a-4192-4fe6-8372-bcf947567e0f" providerId="ADAL" clId="{83C5B975-F26D-414E-9131-DF85FD8BC002}" dt="2021-06-16T08:12:22.252" v="208" actId="1076"/>
          <ac:cxnSpMkLst>
            <pc:docMk/>
            <pc:sldMk cId="3791859769" sldId="4129"/>
            <ac:cxnSpMk id="136" creationId="{E1042028-D2DC-491C-A5ED-8D89E7CD2185}"/>
          </ac:cxnSpMkLst>
        </pc:cxnChg>
        <pc:cxnChg chg="mod">
          <ac:chgData name="Annette Ysland Ludvigsen" userId="5cc2156a-4192-4fe6-8372-bcf947567e0f" providerId="ADAL" clId="{83C5B975-F26D-414E-9131-DF85FD8BC002}" dt="2021-06-16T08:12:19.907" v="207" actId="1076"/>
          <ac:cxnSpMkLst>
            <pc:docMk/>
            <pc:sldMk cId="3791859769" sldId="4129"/>
            <ac:cxnSpMk id="139" creationId="{A31669D5-3239-4618-8AE1-3B2AB347EDA2}"/>
          </ac:cxnSpMkLst>
        </pc:cxnChg>
        <pc:cxnChg chg="mod">
          <ac:chgData name="Annette Ysland Ludvigsen" userId="5cc2156a-4192-4fe6-8372-bcf947567e0f" providerId="ADAL" clId="{83C5B975-F26D-414E-9131-DF85FD8BC002}" dt="2021-06-16T08:12:08.153" v="173" actId="1076"/>
          <ac:cxnSpMkLst>
            <pc:docMk/>
            <pc:sldMk cId="3791859769" sldId="4129"/>
            <ac:cxnSpMk id="416" creationId="{3898968F-0D32-4BE0-ADA8-30770F85B9CD}"/>
          </ac:cxnSpMkLst>
        </pc:cxnChg>
        <pc:cxnChg chg="del mod">
          <ac:chgData name="Annette Ysland Ludvigsen" userId="5cc2156a-4192-4fe6-8372-bcf947567e0f" providerId="ADAL" clId="{83C5B975-F26D-414E-9131-DF85FD8BC002}" dt="2021-06-16T08:12:03.029" v="170" actId="478"/>
          <ac:cxnSpMkLst>
            <pc:docMk/>
            <pc:sldMk cId="3791859769" sldId="4129"/>
            <ac:cxnSpMk id="419" creationId="{F619F429-F861-4497-A3E1-880F95784A9A}"/>
          </ac:cxnSpMkLst>
        </pc:cxnChg>
        <pc:cxnChg chg="mod">
          <ac:chgData name="Annette Ysland Ludvigsen" userId="5cc2156a-4192-4fe6-8372-bcf947567e0f" providerId="ADAL" clId="{83C5B975-F26D-414E-9131-DF85FD8BC002}" dt="2021-06-16T08:11:57.844" v="165" actId="1076"/>
          <ac:cxnSpMkLst>
            <pc:docMk/>
            <pc:sldMk cId="3791859769" sldId="4129"/>
            <ac:cxnSpMk id="420" creationId="{E96341F6-C002-446F-9555-0996EEC0C025}"/>
          </ac:cxnSpMkLst>
        </pc:cxnChg>
        <pc:cxnChg chg="del mod">
          <ac:chgData name="Annette Ysland Ludvigsen" userId="5cc2156a-4192-4fe6-8372-bcf947567e0f" providerId="ADAL" clId="{83C5B975-F26D-414E-9131-DF85FD8BC002}" dt="2021-06-16T08:12:02.282" v="169" actId="478"/>
          <ac:cxnSpMkLst>
            <pc:docMk/>
            <pc:sldMk cId="3791859769" sldId="4129"/>
            <ac:cxnSpMk id="425" creationId="{C7A3AED2-C561-40AB-9EE5-DDD0C0C59060}"/>
          </ac:cxnSpMkLst>
        </pc:cxnChg>
        <pc:cxnChg chg="del mod">
          <ac:chgData name="Annette Ysland Ludvigsen" userId="5cc2156a-4192-4fe6-8372-bcf947567e0f" providerId="ADAL" clId="{83C5B975-F26D-414E-9131-DF85FD8BC002}" dt="2021-06-16T08:12:01.754" v="168" actId="478"/>
          <ac:cxnSpMkLst>
            <pc:docMk/>
            <pc:sldMk cId="3791859769" sldId="4129"/>
            <ac:cxnSpMk id="428" creationId="{87D88754-9570-436F-B6A2-F6624DC76D3A}"/>
          </ac:cxnSpMkLst>
        </pc:cxnChg>
        <pc:cxnChg chg="del mod">
          <ac:chgData name="Annette Ysland Ludvigsen" userId="5cc2156a-4192-4fe6-8372-bcf947567e0f" providerId="ADAL" clId="{83C5B975-F26D-414E-9131-DF85FD8BC002}" dt="2021-06-16T08:12:00.524" v="167" actId="478"/>
          <ac:cxnSpMkLst>
            <pc:docMk/>
            <pc:sldMk cId="3791859769" sldId="4129"/>
            <ac:cxnSpMk id="434" creationId="{545271CD-7047-4590-AEBD-DE58CAF5936D}"/>
          </ac:cxnSpMkLst>
        </pc:cxnChg>
        <pc:cxnChg chg="del mod">
          <ac:chgData name="Annette Ysland Ludvigsen" userId="5cc2156a-4192-4fe6-8372-bcf947567e0f" providerId="ADAL" clId="{83C5B975-F26D-414E-9131-DF85FD8BC002}" dt="2021-06-16T08:11:59.441" v="166" actId="478"/>
          <ac:cxnSpMkLst>
            <pc:docMk/>
            <pc:sldMk cId="3791859769" sldId="4129"/>
            <ac:cxnSpMk id="437" creationId="{82F418E0-661B-4DA0-90C4-78058A7B2B5A}"/>
          </ac:cxnSpMkLst>
        </pc:cxnChg>
        <pc:cxnChg chg="mod">
          <ac:chgData name="Annette Ysland Ludvigsen" userId="5cc2156a-4192-4fe6-8372-bcf947567e0f" providerId="ADAL" clId="{83C5B975-F26D-414E-9131-DF85FD8BC002}" dt="2021-06-16T08:11:16.436" v="155" actId="1076"/>
          <ac:cxnSpMkLst>
            <pc:docMk/>
            <pc:sldMk cId="3791859769" sldId="4129"/>
            <ac:cxnSpMk id="458" creationId="{F130D529-B7BD-4EB6-9EF2-CB0B81FAD182}"/>
          </ac:cxnSpMkLst>
        </pc:cxnChg>
        <pc:cxnChg chg="mod">
          <ac:chgData name="Annette Ysland Ludvigsen" userId="5cc2156a-4192-4fe6-8372-bcf947567e0f" providerId="ADAL" clId="{83C5B975-F26D-414E-9131-DF85FD8BC002}" dt="2021-06-16T08:11:12.321" v="154" actId="1076"/>
          <ac:cxnSpMkLst>
            <pc:docMk/>
            <pc:sldMk cId="3791859769" sldId="4129"/>
            <ac:cxnSpMk id="461" creationId="{947828DC-3453-47DD-9ADB-274E9D3591D8}"/>
          </ac:cxnSpMkLst>
        </pc:cxnChg>
        <pc:cxnChg chg="del mod">
          <ac:chgData name="Annette Ysland Ludvigsen" userId="5cc2156a-4192-4fe6-8372-bcf947567e0f" providerId="ADAL" clId="{83C5B975-F26D-414E-9131-DF85FD8BC002}" dt="2021-06-16T08:11:08.804" v="153" actId="478"/>
          <ac:cxnSpMkLst>
            <pc:docMk/>
            <pc:sldMk cId="3791859769" sldId="4129"/>
            <ac:cxnSpMk id="464" creationId="{05E474E3-EE96-4A48-B143-656311D98D8C}"/>
          </ac:cxnSpMkLst>
        </pc:cxnChg>
        <pc:cxnChg chg="del mod">
          <ac:chgData name="Annette Ysland Ludvigsen" userId="5cc2156a-4192-4fe6-8372-bcf947567e0f" providerId="ADAL" clId="{83C5B975-F26D-414E-9131-DF85FD8BC002}" dt="2021-06-16T08:11:08.804" v="153" actId="478"/>
          <ac:cxnSpMkLst>
            <pc:docMk/>
            <pc:sldMk cId="3791859769" sldId="4129"/>
            <ac:cxnSpMk id="467" creationId="{488F964B-753B-4A38-A074-AFB9948496F6}"/>
          </ac:cxnSpMkLst>
        </pc:cxnChg>
        <pc:cxnChg chg="del mod">
          <ac:chgData name="Annette Ysland Ludvigsen" userId="5cc2156a-4192-4fe6-8372-bcf947567e0f" providerId="ADAL" clId="{83C5B975-F26D-414E-9131-DF85FD8BC002}" dt="2021-06-16T08:11:08.804" v="153" actId="478"/>
          <ac:cxnSpMkLst>
            <pc:docMk/>
            <pc:sldMk cId="3791859769" sldId="4129"/>
            <ac:cxnSpMk id="470" creationId="{1C3C5587-0493-472E-94ED-905C54126A87}"/>
          </ac:cxnSpMkLst>
        </pc:cxnChg>
        <pc:cxnChg chg="del mod">
          <ac:chgData name="Annette Ysland Ludvigsen" userId="5cc2156a-4192-4fe6-8372-bcf947567e0f" providerId="ADAL" clId="{83C5B975-F26D-414E-9131-DF85FD8BC002}" dt="2021-06-16T08:11:08.804" v="153" actId="478"/>
          <ac:cxnSpMkLst>
            <pc:docMk/>
            <pc:sldMk cId="3791859769" sldId="4129"/>
            <ac:cxnSpMk id="473" creationId="{B632FAD0-9CB1-49B7-842C-004680C1E112}"/>
          </ac:cxnSpMkLst>
        </pc:cxnChg>
        <pc:cxnChg chg="mod">
          <ac:chgData name="Annette Ysland Ludvigsen" userId="5cc2156a-4192-4fe6-8372-bcf947567e0f" providerId="ADAL" clId="{83C5B975-F26D-414E-9131-DF85FD8BC002}" dt="2021-06-16T08:10:40.986" v="115" actId="20577"/>
          <ac:cxnSpMkLst>
            <pc:docMk/>
            <pc:sldMk cId="3791859769" sldId="4129"/>
            <ac:cxnSpMk id="566" creationId="{38DD957F-BC27-496E-92F3-A86C719F6DE3}"/>
          </ac:cxnSpMkLst>
        </pc:cxnChg>
        <pc:cxnChg chg="del mod">
          <ac:chgData name="Annette Ysland Ludvigsen" userId="5cc2156a-4192-4fe6-8372-bcf947567e0f" providerId="ADAL" clId="{83C5B975-F26D-414E-9131-DF85FD8BC002}" dt="2021-06-16T08:11:03.988" v="152" actId="478"/>
          <ac:cxnSpMkLst>
            <pc:docMk/>
            <pc:sldMk cId="3791859769" sldId="4129"/>
            <ac:cxnSpMk id="569" creationId="{E42474C1-E6F5-4E70-A206-51FD68CE2A35}"/>
          </ac:cxnSpMkLst>
        </pc:cxnChg>
        <pc:cxnChg chg="del mod">
          <ac:chgData name="Annette Ysland Ludvigsen" userId="5cc2156a-4192-4fe6-8372-bcf947567e0f" providerId="ADAL" clId="{83C5B975-F26D-414E-9131-DF85FD8BC002}" dt="2021-06-16T08:11:08.804" v="153" actId="478"/>
          <ac:cxnSpMkLst>
            <pc:docMk/>
            <pc:sldMk cId="3791859769" sldId="4129"/>
            <ac:cxnSpMk id="572" creationId="{A4E72127-0C75-4AA7-A730-A64C2F96CC31}"/>
          </ac:cxnSpMkLst>
        </pc:cxnChg>
      </pc:sldChg>
      <pc:sldChg chg="addSp modSp new mod">
        <pc:chgData name="Annette Ysland Ludvigsen" userId="5cc2156a-4192-4fe6-8372-bcf947567e0f" providerId="ADAL" clId="{83C5B975-F26D-414E-9131-DF85FD8BC002}" dt="2021-06-16T12:18:54.270" v="3830" actId="14100"/>
        <pc:sldMkLst>
          <pc:docMk/>
          <pc:sldMk cId="2004995224" sldId="4130"/>
        </pc:sldMkLst>
        <pc:spChg chg="mod ord">
          <ac:chgData name="Annette Ysland Ludvigsen" userId="5cc2156a-4192-4fe6-8372-bcf947567e0f" providerId="ADAL" clId="{83C5B975-F26D-414E-9131-DF85FD8BC002}" dt="2021-06-16T12:18:54.270" v="3830" actId="14100"/>
          <ac:spMkLst>
            <pc:docMk/>
            <pc:sldMk cId="2004995224" sldId="4130"/>
            <ac:spMk id="2" creationId="{E55BCF2D-4AF2-4A4B-BEF9-2696448F59AB}"/>
          </ac:spMkLst>
        </pc:spChg>
        <pc:picChg chg="add mod">
          <ac:chgData name="Annette Ysland Ludvigsen" userId="5cc2156a-4192-4fe6-8372-bcf947567e0f" providerId="ADAL" clId="{83C5B975-F26D-414E-9131-DF85FD8BC002}" dt="2021-06-16T09:52:18.853" v="1527" actId="1076"/>
          <ac:picMkLst>
            <pc:docMk/>
            <pc:sldMk cId="2004995224" sldId="4130"/>
            <ac:picMk id="3" creationId="{E87A7D38-2490-4111-90C7-A11A57A56A21}"/>
          </ac:picMkLst>
        </pc:picChg>
        <pc:picChg chg="add mod">
          <ac:chgData name="Annette Ysland Ludvigsen" userId="5cc2156a-4192-4fe6-8372-bcf947567e0f" providerId="ADAL" clId="{83C5B975-F26D-414E-9131-DF85FD8BC002}" dt="2021-06-16T12:18:50.514" v="3828" actId="1076"/>
          <ac:picMkLst>
            <pc:docMk/>
            <pc:sldMk cId="2004995224" sldId="4130"/>
            <ac:picMk id="4" creationId="{9915C611-F080-4E66-AE2D-F69AE6821545}"/>
          </ac:picMkLst>
        </pc:picChg>
      </pc:sldChg>
      <pc:sldChg chg="addSp delSp modSp new mod ord">
        <pc:chgData name="Annette Ysland Ludvigsen" userId="5cc2156a-4192-4fe6-8372-bcf947567e0f" providerId="ADAL" clId="{83C5B975-F26D-414E-9131-DF85FD8BC002}" dt="2021-06-17T08:59:08.581" v="4058" actId="14100"/>
        <pc:sldMkLst>
          <pc:docMk/>
          <pc:sldMk cId="1653706085" sldId="4131"/>
        </pc:sldMkLst>
        <pc:spChg chg="del mod">
          <ac:chgData name="Annette Ysland Ludvigsen" userId="5cc2156a-4192-4fe6-8372-bcf947567e0f" providerId="ADAL" clId="{83C5B975-F26D-414E-9131-DF85FD8BC002}" dt="2021-06-16T12:19:00.558" v="3832" actId="478"/>
          <ac:spMkLst>
            <pc:docMk/>
            <pc:sldMk cId="1653706085" sldId="4131"/>
            <ac:spMk id="2" creationId="{654B1654-6BF9-4080-91C4-4A91680FA9A1}"/>
          </ac:spMkLst>
        </pc:spChg>
        <pc:spChg chg="add mod">
          <ac:chgData name="Annette Ysland Ludvigsen" userId="5cc2156a-4192-4fe6-8372-bcf947567e0f" providerId="ADAL" clId="{83C5B975-F26D-414E-9131-DF85FD8BC002}" dt="2021-06-16T12:19:06.770" v="3834" actId="14100"/>
          <ac:spMkLst>
            <pc:docMk/>
            <pc:sldMk cId="1653706085" sldId="4131"/>
            <ac:spMk id="5" creationId="{B3815933-0523-4002-B11D-6662A51B35AB}"/>
          </ac:spMkLst>
        </pc:spChg>
        <pc:spChg chg="add del mod">
          <ac:chgData name="Annette Ysland Ludvigsen" userId="5cc2156a-4192-4fe6-8372-bcf947567e0f" providerId="ADAL" clId="{83C5B975-F26D-414E-9131-DF85FD8BC002}" dt="2021-06-16T12:19:02.960" v="3833" actId="478"/>
          <ac:spMkLst>
            <pc:docMk/>
            <pc:sldMk cId="1653706085" sldId="4131"/>
            <ac:spMk id="7" creationId="{AB2F9051-F096-4140-8CE8-0CBBE6415039}"/>
          </ac:spMkLst>
        </pc:spChg>
        <pc:picChg chg="add mod">
          <ac:chgData name="Annette Ysland Ludvigsen" userId="5cc2156a-4192-4fe6-8372-bcf947567e0f" providerId="ADAL" clId="{83C5B975-F26D-414E-9131-DF85FD8BC002}" dt="2021-06-17T08:59:08.581" v="4058" actId="14100"/>
          <ac:picMkLst>
            <pc:docMk/>
            <pc:sldMk cId="1653706085" sldId="4131"/>
            <ac:picMk id="3" creationId="{F12E52B5-0DAA-4E81-86C4-AC249511BB71}"/>
          </ac:picMkLst>
        </pc:picChg>
        <pc:picChg chg="add mod">
          <ac:chgData name="Annette Ysland Ludvigsen" userId="5cc2156a-4192-4fe6-8372-bcf947567e0f" providerId="ADAL" clId="{83C5B975-F26D-414E-9131-DF85FD8BC002}" dt="2021-06-16T12:18:58.235" v="3831"/>
          <ac:picMkLst>
            <pc:docMk/>
            <pc:sldMk cId="1653706085" sldId="4131"/>
            <ac:picMk id="4" creationId="{465D9DBC-B495-4A0F-8BE5-40250427EFD3}"/>
          </ac:picMkLst>
        </pc:picChg>
      </pc:sldChg>
      <pc:sldChg chg="addSp modSp new mod ord">
        <pc:chgData name="Annette Ysland Ludvigsen" userId="5cc2156a-4192-4fe6-8372-bcf947567e0f" providerId="ADAL" clId="{83C5B975-F26D-414E-9131-DF85FD8BC002}" dt="2021-06-18T06:22:29.450" v="4351" actId="1076"/>
        <pc:sldMkLst>
          <pc:docMk/>
          <pc:sldMk cId="3144565158" sldId="4132"/>
        </pc:sldMkLst>
        <pc:spChg chg="mod ord">
          <ac:chgData name="Annette Ysland Ludvigsen" userId="5cc2156a-4192-4fe6-8372-bcf947567e0f" providerId="ADAL" clId="{83C5B975-F26D-414E-9131-DF85FD8BC002}" dt="2021-06-16T12:14:55.959" v="3585" actId="20577"/>
          <ac:spMkLst>
            <pc:docMk/>
            <pc:sldMk cId="3144565158" sldId="4132"/>
            <ac:spMk id="2" creationId="{CB7D3974-7AC0-4904-AA68-D524A9B69F7A}"/>
          </ac:spMkLst>
        </pc:spChg>
        <pc:spChg chg="add mod">
          <ac:chgData name="Annette Ysland Ludvigsen" userId="5cc2156a-4192-4fe6-8372-bcf947567e0f" providerId="ADAL" clId="{83C5B975-F26D-414E-9131-DF85FD8BC002}" dt="2021-06-18T06:22:29.450" v="4351" actId="1076"/>
          <ac:spMkLst>
            <pc:docMk/>
            <pc:sldMk cId="3144565158" sldId="4132"/>
            <ac:spMk id="5" creationId="{75E83693-BCDB-40FE-AFC7-5A2877B52EE1}"/>
          </ac:spMkLst>
        </pc:spChg>
        <pc:picChg chg="add mod">
          <ac:chgData name="Annette Ysland Ludvigsen" userId="5cc2156a-4192-4fe6-8372-bcf947567e0f" providerId="ADAL" clId="{83C5B975-F26D-414E-9131-DF85FD8BC002}" dt="2021-06-18T06:22:26.140" v="4350" actId="1076"/>
          <ac:picMkLst>
            <pc:docMk/>
            <pc:sldMk cId="3144565158" sldId="4132"/>
            <ac:picMk id="3" creationId="{88222E02-D773-4C85-8074-EC7B98421E71}"/>
          </ac:picMkLst>
        </pc:picChg>
        <pc:picChg chg="add mod">
          <ac:chgData name="Annette Ysland Ludvigsen" userId="5cc2156a-4192-4fe6-8372-bcf947567e0f" providerId="ADAL" clId="{83C5B975-F26D-414E-9131-DF85FD8BC002}" dt="2021-06-16T12:13:43.507" v="3368" actId="1076"/>
          <ac:picMkLst>
            <pc:docMk/>
            <pc:sldMk cId="3144565158" sldId="4132"/>
            <ac:picMk id="4" creationId="{11F334A3-1DD3-4F55-937E-3F952BFBB558}"/>
          </ac:picMkLst>
        </pc:picChg>
      </pc:sldChg>
      <pc:sldChg chg="addSp delSp modSp new mod ord setBg">
        <pc:chgData name="Annette Ysland Ludvigsen" userId="5cc2156a-4192-4fe6-8372-bcf947567e0f" providerId="ADAL" clId="{83C5B975-F26D-414E-9131-DF85FD8BC002}" dt="2021-06-16T12:12:29.455" v="3361" actId="14100"/>
        <pc:sldMkLst>
          <pc:docMk/>
          <pc:sldMk cId="909692268" sldId="4133"/>
        </pc:sldMkLst>
        <pc:spChg chg="mod ord">
          <ac:chgData name="Annette Ysland Ludvigsen" userId="5cc2156a-4192-4fe6-8372-bcf947567e0f" providerId="ADAL" clId="{83C5B975-F26D-414E-9131-DF85FD8BC002}" dt="2021-06-16T12:12:29.455" v="3361" actId="14100"/>
          <ac:spMkLst>
            <pc:docMk/>
            <pc:sldMk cId="909692268" sldId="4133"/>
            <ac:spMk id="2" creationId="{5F7503DD-50AC-429F-A2D0-88926A4ACE95}"/>
          </ac:spMkLst>
        </pc:spChg>
        <pc:spChg chg="add mod">
          <ac:chgData name="Annette Ysland Ludvigsen" userId="5cc2156a-4192-4fe6-8372-bcf947567e0f" providerId="ADAL" clId="{83C5B975-F26D-414E-9131-DF85FD8BC002}" dt="2021-06-16T12:10:24.162" v="3261" actId="1076"/>
          <ac:spMkLst>
            <pc:docMk/>
            <pc:sldMk cId="909692268" sldId="4133"/>
            <ac:spMk id="10" creationId="{602C3C2E-800A-4DFE-BF47-39F76211F9FB}"/>
          </ac:spMkLst>
        </pc:spChg>
        <pc:spChg chg="add del">
          <ac:chgData name="Annette Ysland Ludvigsen" userId="5cc2156a-4192-4fe6-8372-bcf947567e0f" providerId="ADAL" clId="{83C5B975-F26D-414E-9131-DF85FD8BC002}" dt="2021-06-16T12:05:08.607" v="3234" actId="26606"/>
          <ac:spMkLst>
            <pc:docMk/>
            <pc:sldMk cId="909692268" sldId="4133"/>
            <ac:spMk id="11" creationId="{A5711A0E-A428-4ED1-96CB-33D69FD842E4}"/>
          </ac:spMkLst>
        </pc:spChg>
        <pc:spChg chg="add">
          <ac:chgData name="Annette Ysland Ludvigsen" userId="5cc2156a-4192-4fe6-8372-bcf947567e0f" providerId="ADAL" clId="{83C5B975-F26D-414E-9131-DF85FD8BC002}" dt="2021-06-16T12:05:08.607" v="3234" actId="26606"/>
          <ac:spMkLst>
            <pc:docMk/>
            <pc:sldMk cId="909692268" sldId="4133"/>
            <ac:spMk id="16" creationId="{022BDE4A-8A20-4A69-9C5A-581C82036A4D}"/>
          </ac:spMkLst>
        </pc:spChg>
        <pc:picChg chg="add del mod">
          <ac:chgData name="Annette Ysland Ludvigsen" userId="5cc2156a-4192-4fe6-8372-bcf947567e0f" providerId="ADAL" clId="{83C5B975-F26D-414E-9131-DF85FD8BC002}" dt="2021-06-16T09:57:33.018" v="1591" actId="478"/>
          <ac:picMkLst>
            <pc:docMk/>
            <pc:sldMk cId="909692268" sldId="4133"/>
            <ac:picMk id="3" creationId="{0382F53E-EC8B-4F65-A1A8-DCD4720C53B0}"/>
          </ac:picMkLst>
        </pc:picChg>
        <pc:picChg chg="add del mod">
          <ac:chgData name="Annette Ysland Ludvigsen" userId="5cc2156a-4192-4fe6-8372-bcf947567e0f" providerId="ADAL" clId="{83C5B975-F26D-414E-9131-DF85FD8BC002}" dt="2021-06-16T09:56:52.286" v="1587"/>
          <ac:picMkLst>
            <pc:docMk/>
            <pc:sldMk cId="909692268" sldId="4133"/>
            <ac:picMk id="4" creationId="{490752EF-AC8E-475F-95AC-4E9E015CC522}"/>
          </ac:picMkLst>
        </pc:picChg>
        <pc:picChg chg="add mod ord modCrop">
          <ac:chgData name="Annette Ysland Ludvigsen" userId="5cc2156a-4192-4fe6-8372-bcf947567e0f" providerId="ADAL" clId="{83C5B975-F26D-414E-9131-DF85FD8BC002}" dt="2021-06-16T12:09:33.212" v="3256" actId="732"/>
          <ac:picMkLst>
            <pc:docMk/>
            <pc:sldMk cId="909692268" sldId="4133"/>
            <ac:picMk id="5" creationId="{2FD38EA9-A624-4221-9AF6-31E74D581AC6}"/>
          </ac:picMkLst>
        </pc:picChg>
        <pc:picChg chg="add mod ord modCrop">
          <ac:chgData name="Annette Ysland Ludvigsen" userId="5cc2156a-4192-4fe6-8372-bcf947567e0f" providerId="ADAL" clId="{83C5B975-F26D-414E-9131-DF85FD8BC002}" dt="2021-06-16T12:09:36.538" v="3257" actId="732"/>
          <ac:picMkLst>
            <pc:docMk/>
            <pc:sldMk cId="909692268" sldId="4133"/>
            <ac:picMk id="6" creationId="{BD02EBE7-9F80-45F2-8758-B1D543CEB87B}"/>
          </ac:picMkLst>
        </pc:picChg>
        <pc:picChg chg="add del mod ord">
          <ac:chgData name="Annette Ysland Ludvigsen" userId="5cc2156a-4192-4fe6-8372-bcf947567e0f" providerId="ADAL" clId="{83C5B975-F26D-414E-9131-DF85FD8BC002}" dt="2021-06-16T12:05:35.865" v="3248" actId="171"/>
          <ac:picMkLst>
            <pc:docMk/>
            <pc:sldMk cId="909692268" sldId="4133"/>
            <ac:picMk id="9" creationId="{599AD4B3-1C34-4A4B-90D0-DBB9946C9A15}"/>
          </ac:picMkLst>
        </pc:picChg>
      </pc:sldChg>
      <pc:sldChg chg="modSp add del mod">
        <pc:chgData name="Annette Ysland Ludvigsen" userId="5cc2156a-4192-4fe6-8372-bcf947567e0f" providerId="ADAL" clId="{83C5B975-F26D-414E-9131-DF85FD8BC002}" dt="2021-06-16T08:28:57.445" v="1021" actId="47"/>
        <pc:sldMkLst>
          <pc:docMk/>
          <pc:sldMk cId="1505911588" sldId="4133"/>
        </pc:sldMkLst>
        <pc:spChg chg="mod">
          <ac:chgData name="Annette Ysland Ludvigsen" userId="5cc2156a-4192-4fe6-8372-bcf947567e0f" providerId="ADAL" clId="{83C5B975-F26D-414E-9131-DF85FD8BC002}" dt="2021-06-16T08:28:55.287" v="1020" actId="20577"/>
          <ac:spMkLst>
            <pc:docMk/>
            <pc:sldMk cId="1505911588" sldId="4133"/>
            <ac:spMk id="2" creationId="{AFAC418D-4DE9-4BD9-ABCB-DF67B0C1979C}"/>
          </ac:spMkLst>
        </pc:spChg>
      </pc:sldChg>
      <pc:sldChg chg="addSp modSp new mod ord">
        <pc:chgData name="Annette Ysland Ludvigsen" userId="5cc2156a-4192-4fe6-8372-bcf947567e0f" providerId="ADAL" clId="{83C5B975-F26D-414E-9131-DF85FD8BC002}" dt="2021-06-16T12:12:11.661" v="3355" actId="20577"/>
        <pc:sldMkLst>
          <pc:docMk/>
          <pc:sldMk cId="1355450025" sldId="4134"/>
        </pc:sldMkLst>
        <pc:spChg chg="mod ord">
          <ac:chgData name="Annette Ysland Ludvigsen" userId="5cc2156a-4192-4fe6-8372-bcf947567e0f" providerId="ADAL" clId="{83C5B975-F26D-414E-9131-DF85FD8BC002}" dt="2021-06-16T12:12:11.661" v="3355" actId="20577"/>
          <ac:spMkLst>
            <pc:docMk/>
            <pc:sldMk cId="1355450025" sldId="4134"/>
            <ac:spMk id="2" creationId="{75C970A5-0E0C-4700-B55D-DF325A7B0FC4}"/>
          </ac:spMkLst>
        </pc:spChg>
        <pc:spChg chg="add mod">
          <ac:chgData name="Annette Ysland Ludvigsen" userId="5cc2156a-4192-4fe6-8372-bcf947567e0f" providerId="ADAL" clId="{83C5B975-F26D-414E-9131-DF85FD8BC002}" dt="2021-06-16T12:11:02.803" v="3265" actId="1076"/>
          <ac:spMkLst>
            <pc:docMk/>
            <pc:sldMk cId="1355450025" sldId="4134"/>
            <ac:spMk id="4" creationId="{1B433E10-3A9A-40AB-86BB-89DE55E10370}"/>
          </ac:spMkLst>
        </pc:spChg>
        <pc:picChg chg="add mod">
          <ac:chgData name="Annette Ysland Ludvigsen" userId="5cc2156a-4192-4fe6-8372-bcf947567e0f" providerId="ADAL" clId="{83C5B975-F26D-414E-9131-DF85FD8BC002}" dt="2021-06-16T12:11:00.185" v="3264" actId="1076"/>
          <ac:picMkLst>
            <pc:docMk/>
            <pc:sldMk cId="1355450025" sldId="4134"/>
            <ac:picMk id="3" creationId="{FA175037-6B6D-4301-8909-D3BF0C2DDACB}"/>
          </ac:picMkLst>
        </pc:picChg>
        <pc:picChg chg="add mod">
          <ac:chgData name="Annette Ysland Ludvigsen" userId="5cc2156a-4192-4fe6-8372-bcf947567e0f" providerId="ADAL" clId="{83C5B975-F26D-414E-9131-DF85FD8BC002}" dt="2021-06-16T12:11:58.525" v="3329" actId="1076"/>
          <ac:picMkLst>
            <pc:docMk/>
            <pc:sldMk cId="1355450025" sldId="4134"/>
            <ac:picMk id="5" creationId="{690EFB21-504F-4EA1-94FF-35FBED987CA7}"/>
          </ac:picMkLst>
        </pc:picChg>
      </pc:sldChg>
      <pc:sldChg chg="addSp delSp modSp new mod modAnim">
        <pc:chgData name="Annette Ysland Ludvigsen" userId="5cc2156a-4192-4fe6-8372-bcf947567e0f" providerId="ADAL" clId="{83C5B975-F26D-414E-9131-DF85FD8BC002}" dt="2021-06-21T05:22:23.716" v="4487" actId="20577"/>
        <pc:sldMkLst>
          <pc:docMk/>
          <pc:sldMk cId="4173719514" sldId="4135"/>
        </pc:sldMkLst>
        <pc:spChg chg="del mod ord">
          <ac:chgData name="Annette Ysland Ludvigsen" userId="5cc2156a-4192-4fe6-8372-bcf947567e0f" providerId="ADAL" clId="{83C5B975-F26D-414E-9131-DF85FD8BC002}" dt="2021-06-16T10:56:22.867" v="1746" actId="478"/>
          <ac:spMkLst>
            <pc:docMk/>
            <pc:sldMk cId="4173719514" sldId="4135"/>
            <ac:spMk id="2" creationId="{FF674201-3F88-4642-AE5B-73EC9A5507EF}"/>
          </ac:spMkLst>
        </pc:spChg>
        <pc:spChg chg="add mod">
          <ac:chgData name="Annette Ysland Ludvigsen" userId="5cc2156a-4192-4fe6-8372-bcf947567e0f" providerId="ADAL" clId="{83C5B975-F26D-414E-9131-DF85FD8BC002}" dt="2021-06-16T10:53:46.137" v="1741" actId="1076"/>
          <ac:spMkLst>
            <pc:docMk/>
            <pc:sldMk cId="4173719514" sldId="4135"/>
            <ac:spMk id="7" creationId="{7AF4B4FE-BFDA-4D96-B9BE-9BA74BB9D08F}"/>
          </ac:spMkLst>
        </pc:spChg>
        <pc:spChg chg="add del mod">
          <ac:chgData name="Annette Ysland Ludvigsen" userId="5cc2156a-4192-4fe6-8372-bcf947567e0f" providerId="ADAL" clId="{83C5B975-F26D-414E-9131-DF85FD8BC002}" dt="2021-06-16T10:56:24.489" v="1747" actId="478"/>
          <ac:spMkLst>
            <pc:docMk/>
            <pc:sldMk cId="4173719514" sldId="4135"/>
            <ac:spMk id="10" creationId="{5CB05572-F7B3-4E57-A850-068755C658CE}"/>
          </ac:spMkLst>
        </pc:spChg>
        <pc:spChg chg="add mod">
          <ac:chgData name="Annette Ysland Ludvigsen" userId="5cc2156a-4192-4fe6-8372-bcf947567e0f" providerId="ADAL" clId="{83C5B975-F26D-414E-9131-DF85FD8BC002}" dt="2021-06-21T05:22:23.716" v="4487" actId="20577"/>
          <ac:spMkLst>
            <pc:docMk/>
            <pc:sldMk cId="4173719514" sldId="4135"/>
            <ac:spMk id="11" creationId="{A47177BC-4337-4642-B3C9-71EDE8031AD2}"/>
          </ac:spMkLst>
        </pc:spChg>
        <pc:picChg chg="add del mod">
          <ac:chgData name="Annette Ysland Ludvigsen" userId="5cc2156a-4192-4fe6-8372-bcf947567e0f" providerId="ADAL" clId="{83C5B975-F26D-414E-9131-DF85FD8BC002}" dt="2021-06-16T09:58:42.996" v="1629" actId="478"/>
          <ac:picMkLst>
            <pc:docMk/>
            <pc:sldMk cId="4173719514" sldId="4135"/>
            <ac:picMk id="3" creationId="{1E69F049-CAC8-4E76-A4F1-0455BEBBDD09}"/>
          </ac:picMkLst>
        </pc:picChg>
        <pc:picChg chg="add mod">
          <ac:chgData name="Annette Ysland Ludvigsen" userId="5cc2156a-4192-4fe6-8372-bcf947567e0f" providerId="ADAL" clId="{83C5B975-F26D-414E-9131-DF85FD8BC002}" dt="2021-06-16T10:56:17.845" v="1745" actId="1076"/>
          <ac:picMkLst>
            <pc:docMk/>
            <pc:sldMk cId="4173719514" sldId="4135"/>
            <ac:picMk id="4" creationId="{98E89894-4BF6-412C-A203-512295A863DB}"/>
          </ac:picMkLst>
        </pc:picChg>
        <pc:picChg chg="add del mod">
          <ac:chgData name="Annette Ysland Ludvigsen" userId="5cc2156a-4192-4fe6-8372-bcf947567e0f" providerId="ADAL" clId="{83C5B975-F26D-414E-9131-DF85FD8BC002}" dt="2021-06-16T10:53:26.808" v="1711" actId="478"/>
          <ac:picMkLst>
            <pc:docMk/>
            <pc:sldMk cId="4173719514" sldId="4135"/>
            <ac:picMk id="5" creationId="{5BDBB7F4-4CBB-45F5-A435-504C4EDC43BC}"/>
          </ac:picMkLst>
        </pc:picChg>
        <pc:picChg chg="add mod">
          <ac:chgData name="Annette Ysland Ludvigsen" userId="5cc2156a-4192-4fe6-8372-bcf947567e0f" providerId="ADAL" clId="{83C5B975-F26D-414E-9131-DF85FD8BC002}" dt="2021-06-16T10:53:27.793" v="1712"/>
          <ac:picMkLst>
            <pc:docMk/>
            <pc:sldMk cId="4173719514" sldId="4135"/>
            <ac:picMk id="6" creationId="{BEF245B7-A231-484A-B7B5-D78DCB529F9D}"/>
          </ac:picMkLst>
        </pc:picChg>
        <pc:picChg chg="add mod">
          <ac:chgData name="Annette Ysland Ludvigsen" userId="5cc2156a-4192-4fe6-8372-bcf947567e0f" providerId="ADAL" clId="{83C5B975-F26D-414E-9131-DF85FD8BC002}" dt="2021-06-16T10:56:11.879" v="1743" actId="1076"/>
          <ac:picMkLst>
            <pc:docMk/>
            <pc:sldMk cId="4173719514" sldId="4135"/>
            <ac:picMk id="8" creationId="{E7A4E3E4-CF5F-405C-83D9-0CEE4CF6E67D}"/>
          </ac:picMkLst>
        </pc:picChg>
      </pc:sldChg>
      <pc:sldChg chg="addSp delSp modSp add mod delAnim modAnim">
        <pc:chgData name="Annette Ysland Ludvigsen" userId="5cc2156a-4192-4fe6-8372-bcf947567e0f" providerId="ADAL" clId="{83C5B975-F26D-414E-9131-DF85FD8BC002}" dt="2021-06-16T12:58:18.498" v="3885"/>
        <pc:sldMkLst>
          <pc:docMk/>
          <pc:sldMk cId="3564371947" sldId="4136"/>
        </pc:sldMkLst>
        <pc:spChg chg="del">
          <ac:chgData name="Annette Ysland Ludvigsen" userId="5cc2156a-4192-4fe6-8372-bcf947567e0f" providerId="ADAL" clId="{83C5B975-F26D-414E-9131-DF85FD8BC002}" dt="2021-06-16T10:59:49.602" v="1784" actId="478"/>
          <ac:spMkLst>
            <pc:docMk/>
            <pc:sldMk cId="3564371947" sldId="4136"/>
            <ac:spMk id="6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43.705" v="1782" actId="478"/>
          <ac:spMkLst>
            <pc:docMk/>
            <pc:sldMk cId="3564371947" sldId="4136"/>
            <ac:spMk id="7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8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9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10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14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23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1:01:23.544" v="1901" actId="478"/>
          <ac:spMkLst>
            <pc:docMk/>
            <pc:sldMk cId="3564371947" sldId="4136"/>
            <ac:spMk id="28" creationId="{1B73FFB3-1691-49FF-B309-E67BFDC227E2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39" creationId="{BA29E47A-15C6-4347-A8CC-1D75D7EBDFB7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40" creationId="{F04175A1-B5F0-49F7-8D31-89898959EFF3}"/>
          </ac:spMkLst>
        </pc:spChg>
        <pc:spChg chg="del">
          <ac:chgData name="Annette Ysland Ludvigsen" userId="5cc2156a-4192-4fe6-8372-bcf947567e0f" providerId="ADAL" clId="{83C5B975-F26D-414E-9131-DF85FD8BC002}" dt="2021-06-16T11:00:15.421" v="1790" actId="478"/>
          <ac:spMkLst>
            <pc:docMk/>
            <pc:sldMk cId="3564371947" sldId="4136"/>
            <ac:spMk id="41" creationId="{48F53D11-6902-4400-A246-F9C2C910ECBC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43" creationId="{D5230231-B9F4-46CA-AEC9-B82D6A203933}"/>
          </ac:spMkLst>
        </pc:spChg>
        <pc:spChg chg="del">
          <ac:chgData name="Annette Ysland Ludvigsen" userId="5cc2156a-4192-4fe6-8372-bcf947567e0f" providerId="ADAL" clId="{83C5B975-F26D-414E-9131-DF85FD8BC002}" dt="2021-06-16T10:59:18.749" v="1761" actId="478"/>
          <ac:spMkLst>
            <pc:docMk/>
            <pc:sldMk cId="3564371947" sldId="4136"/>
            <ac:spMk id="52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34.618" v="1777" actId="478"/>
          <ac:spMkLst>
            <pc:docMk/>
            <pc:sldMk cId="3564371947" sldId="4136"/>
            <ac:spMk id="53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22.443" v="1765" actId="478"/>
          <ac:spMkLst>
            <pc:docMk/>
            <pc:sldMk cId="3564371947" sldId="4136"/>
            <ac:spMk id="54" creationId="{00000000-0000-0000-0000-000000000000}"/>
          </ac:spMkLst>
        </pc:spChg>
        <pc:spChg chg="add mod">
          <ac:chgData name="Annette Ysland Ludvigsen" userId="5cc2156a-4192-4fe6-8372-bcf947567e0f" providerId="ADAL" clId="{83C5B975-F26D-414E-9131-DF85FD8BC002}" dt="2021-06-16T11:04:09.066" v="2119" actId="14100"/>
          <ac:spMkLst>
            <pc:docMk/>
            <pc:sldMk cId="3564371947" sldId="4136"/>
            <ac:spMk id="55" creationId="{7099661B-403D-41E6-8E66-630241525B46}"/>
          </ac:spMkLst>
        </pc:spChg>
        <pc:spChg chg="add mod">
          <ac:chgData name="Annette Ysland Ludvigsen" userId="5cc2156a-4192-4fe6-8372-bcf947567e0f" providerId="ADAL" clId="{83C5B975-F26D-414E-9131-DF85FD8BC002}" dt="2021-06-16T11:04:16.160" v="2122" actId="14100"/>
          <ac:spMkLst>
            <pc:docMk/>
            <pc:sldMk cId="3564371947" sldId="4136"/>
            <ac:spMk id="56" creationId="{0E0D7555-3359-411A-9000-F83D4F2566E5}"/>
          </ac:spMkLst>
        </pc:spChg>
        <pc:spChg chg="add mod">
          <ac:chgData name="Annette Ysland Ludvigsen" userId="5cc2156a-4192-4fe6-8372-bcf947567e0f" providerId="ADAL" clId="{83C5B975-F26D-414E-9131-DF85FD8BC002}" dt="2021-06-16T11:04:24.621" v="2124" actId="14100"/>
          <ac:spMkLst>
            <pc:docMk/>
            <pc:sldMk cId="3564371947" sldId="4136"/>
            <ac:spMk id="57" creationId="{A6B571A7-BB74-4978-B622-9929F28434F3}"/>
          </ac:spMkLst>
        </pc:spChg>
        <pc:spChg chg="add mod">
          <ac:chgData name="Annette Ysland Ludvigsen" userId="5cc2156a-4192-4fe6-8372-bcf947567e0f" providerId="ADAL" clId="{83C5B975-F26D-414E-9131-DF85FD8BC002}" dt="2021-06-16T11:04:13.202" v="2121" actId="14100"/>
          <ac:spMkLst>
            <pc:docMk/>
            <pc:sldMk cId="3564371947" sldId="4136"/>
            <ac:spMk id="58" creationId="{C064FA21-9777-4B1E-963F-7E919EA7FB2F}"/>
          </ac:spMkLst>
        </pc:spChg>
        <pc:spChg chg="del">
          <ac:chgData name="Annette Ysland Ludvigsen" userId="5cc2156a-4192-4fe6-8372-bcf947567e0f" providerId="ADAL" clId="{83C5B975-F26D-414E-9131-DF85FD8BC002}" dt="2021-06-16T10:59:17.744" v="1760" actId="478"/>
          <ac:spMkLst>
            <pc:docMk/>
            <pc:sldMk cId="3564371947" sldId="4136"/>
            <ac:spMk id="59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38.342" v="1780" actId="478"/>
          <ac:spMkLst>
            <pc:docMk/>
            <pc:sldMk cId="3564371947" sldId="4136"/>
            <ac:spMk id="60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41.870" v="1781" actId="478"/>
          <ac:spMkLst>
            <pc:docMk/>
            <pc:sldMk cId="3564371947" sldId="4136"/>
            <ac:spMk id="61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45.791" v="1783" actId="478"/>
          <ac:spMkLst>
            <pc:docMk/>
            <pc:sldMk cId="3564371947" sldId="4136"/>
            <ac:spMk id="62" creationId="{00000000-0000-0000-0000-000000000000}"/>
          </ac:spMkLst>
        </pc:spChg>
        <pc:spChg chg="add mod">
          <ac:chgData name="Annette Ysland Ludvigsen" userId="5cc2156a-4192-4fe6-8372-bcf947567e0f" providerId="ADAL" clId="{83C5B975-F26D-414E-9131-DF85FD8BC002}" dt="2021-06-16T11:04:20.788" v="2123" actId="14100"/>
          <ac:spMkLst>
            <pc:docMk/>
            <pc:sldMk cId="3564371947" sldId="4136"/>
            <ac:spMk id="63" creationId="{B606769D-AA6B-494A-A360-9E7627D6CAEE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87" creationId="{14AB70E3-A135-43A0-AEE0-2D963969E9EE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88" creationId="{5C3250A7-2CE8-4083-9856-4A333134EEC6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90" creationId="{C7B5C968-7D59-4190-9F3A-13BBDBFC19FB}"/>
          </ac:spMkLst>
        </pc:spChg>
        <pc:spChg chg="del">
          <ac:chgData name="Annette Ysland Ludvigsen" userId="5cc2156a-4192-4fe6-8372-bcf947567e0f" providerId="ADAL" clId="{83C5B975-F26D-414E-9131-DF85FD8BC002}" dt="2021-06-16T10:59:37.354" v="1779" actId="478"/>
          <ac:spMkLst>
            <pc:docMk/>
            <pc:sldMk cId="3564371947" sldId="4136"/>
            <ac:spMk id="92" creationId="{5265243F-AE02-40F4-9350-4B5A0812721D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96" creationId="{D5230231-B9F4-46CA-AEC9-B82D6A203933}"/>
          </ac:spMkLst>
        </pc:spChg>
        <pc:spChg chg="mod">
          <ac:chgData name="Annette Ysland Ludvigsen" userId="5cc2156a-4192-4fe6-8372-bcf947567e0f" providerId="ADAL" clId="{83C5B975-F26D-414E-9131-DF85FD8BC002}" dt="2021-06-16T11:05:55.813" v="2163" actId="122"/>
          <ac:spMkLst>
            <pc:docMk/>
            <pc:sldMk cId="3564371947" sldId="4136"/>
            <ac:spMk id="112" creationId="{00000000-0000-0000-0000-000000000000}"/>
          </ac:spMkLst>
        </pc:spChg>
        <pc:spChg chg="del">
          <ac:chgData name="Annette Ysland Ludvigsen" userId="5cc2156a-4192-4fe6-8372-bcf947567e0f" providerId="ADAL" clId="{83C5B975-F26D-414E-9131-DF85FD8BC002}" dt="2021-06-16T10:59:26.675" v="1770" actId="478"/>
          <ac:spMkLst>
            <pc:docMk/>
            <pc:sldMk cId="3564371947" sldId="4136"/>
            <ac:spMk id="113" creationId="{0FC9E4D4-DE55-4588-BEBD-80201151A4F7}"/>
          </ac:spMkLst>
        </pc:spChg>
        <pc:spChg chg="del">
          <ac:chgData name="Annette Ysland Ludvigsen" userId="5cc2156a-4192-4fe6-8372-bcf947567e0f" providerId="ADAL" clId="{83C5B975-F26D-414E-9131-DF85FD8BC002}" dt="2021-06-16T10:59:19.585" v="1762" actId="478"/>
          <ac:spMkLst>
            <pc:docMk/>
            <pc:sldMk cId="3564371947" sldId="4136"/>
            <ac:spMk id="114" creationId="{4AF6FB2D-50FD-4031-A3A4-A203365FCC22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115" creationId="{1A3D5F2C-76EE-4E96-8172-324DD6591BC6}"/>
          </ac:spMkLst>
        </pc:spChg>
        <pc:spChg chg="del">
          <ac:chgData name="Annette Ysland Ludvigsen" userId="5cc2156a-4192-4fe6-8372-bcf947567e0f" providerId="ADAL" clId="{83C5B975-F26D-414E-9131-DF85FD8BC002}" dt="2021-06-16T10:59:20.348" v="1763" actId="478"/>
          <ac:spMkLst>
            <pc:docMk/>
            <pc:sldMk cId="3564371947" sldId="4136"/>
            <ac:spMk id="117" creationId="{4228F3B3-5549-47FB-8A37-C22D9A2A0307}"/>
          </ac:spMkLst>
        </pc:spChg>
        <pc:spChg chg="mod">
          <ac:chgData name="Annette Ysland Ludvigsen" userId="5cc2156a-4192-4fe6-8372-bcf947567e0f" providerId="ADAL" clId="{83C5B975-F26D-414E-9131-DF85FD8BC002}" dt="2021-06-16T11:00:13.677" v="1789" actId="1076"/>
          <ac:spMkLst>
            <pc:docMk/>
            <pc:sldMk cId="3564371947" sldId="4136"/>
            <ac:spMk id="118" creationId="{5DF0A21D-D503-4B4C-BD09-DC82DB4C6848}"/>
          </ac:spMkLst>
        </pc:spChg>
        <pc:spChg chg="del">
          <ac:chgData name="Annette Ysland Ludvigsen" userId="5cc2156a-4192-4fe6-8372-bcf947567e0f" providerId="ADAL" clId="{83C5B975-F26D-414E-9131-DF85FD8BC002}" dt="2021-06-16T11:01:24.647" v="1902" actId="478"/>
          <ac:spMkLst>
            <pc:docMk/>
            <pc:sldMk cId="3564371947" sldId="4136"/>
            <ac:spMk id="119" creationId="{927E45B1-55D6-4DCA-8D33-60B6B42E7B06}"/>
          </ac:spMkLst>
        </pc:spChg>
        <pc:spChg chg="del">
          <ac:chgData name="Annette Ysland Ludvigsen" userId="5cc2156a-4192-4fe6-8372-bcf947567e0f" providerId="ADAL" clId="{83C5B975-F26D-414E-9131-DF85FD8BC002}" dt="2021-06-16T10:59:33.563" v="1776" actId="478"/>
          <ac:spMkLst>
            <pc:docMk/>
            <pc:sldMk cId="3564371947" sldId="4136"/>
            <ac:spMk id="123" creationId="{32185FC5-8D70-4FB6-9600-37049C9CA2C6}"/>
          </ac:spMkLst>
        </pc:spChg>
        <pc:spChg chg="del">
          <ac:chgData name="Annette Ysland Ludvigsen" userId="5cc2156a-4192-4fe6-8372-bcf947567e0f" providerId="ADAL" clId="{83C5B975-F26D-414E-9131-DF85FD8BC002}" dt="2021-06-16T10:59:28.027" v="1771" actId="478"/>
          <ac:spMkLst>
            <pc:docMk/>
            <pc:sldMk cId="3564371947" sldId="4136"/>
            <ac:spMk id="124" creationId="{7C784CF9-08C9-4583-9FD2-85FAACF2447A}"/>
          </ac:spMkLst>
        </pc:spChg>
        <pc:spChg chg="del">
          <ac:chgData name="Annette Ysland Ludvigsen" userId="5cc2156a-4192-4fe6-8372-bcf947567e0f" providerId="ADAL" clId="{83C5B975-F26D-414E-9131-DF85FD8BC002}" dt="2021-06-16T10:59:29.633" v="1772" actId="478"/>
          <ac:spMkLst>
            <pc:docMk/>
            <pc:sldMk cId="3564371947" sldId="4136"/>
            <ac:spMk id="126" creationId="{B5800102-E4C2-4940-B135-CA76E078991A}"/>
          </ac:spMkLst>
        </pc:spChg>
        <pc:spChg chg="del">
          <ac:chgData name="Annette Ysland Ludvigsen" userId="5cc2156a-4192-4fe6-8372-bcf947567e0f" providerId="ADAL" clId="{83C5B975-F26D-414E-9131-DF85FD8BC002}" dt="2021-06-16T10:59:21.273" v="1764" actId="478"/>
          <ac:spMkLst>
            <pc:docMk/>
            <pc:sldMk cId="3564371947" sldId="4136"/>
            <ac:spMk id="137" creationId="{978AF6FC-1B59-4D59-88A6-4DF06A17D44A}"/>
          </ac:spMkLst>
        </pc:spChg>
        <pc:spChg chg="del">
          <ac:chgData name="Annette Ysland Ludvigsen" userId="5cc2156a-4192-4fe6-8372-bcf947567e0f" providerId="ADAL" clId="{83C5B975-F26D-414E-9131-DF85FD8BC002}" dt="2021-06-16T10:59:35.384" v="1778" actId="478"/>
          <ac:spMkLst>
            <pc:docMk/>
            <pc:sldMk cId="3564371947" sldId="4136"/>
            <ac:spMk id="138" creationId="{A12FD68B-0BA1-41D3-9E00-A8D09D00D145}"/>
          </ac:spMkLst>
        </pc:spChg>
        <pc:picChg chg="add mod ord">
          <ac:chgData name="Annette Ysland Ludvigsen" userId="5cc2156a-4192-4fe6-8372-bcf947567e0f" providerId="ADAL" clId="{83C5B975-F26D-414E-9131-DF85FD8BC002}" dt="2021-06-16T11:05:14.452" v="2156" actId="167"/>
          <ac:picMkLst>
            <pc:docMk/>
            <pc:sldMk cId="3564371947" sldId="4136"/>
            <ac:picMk id="64" creationId="{DFF43A22-6938-4821-8B1C-287CC6A26B64}"/>
          </ac:picMkLst>
        </pc:picChg>
        <pc:cxnChg chg="del mod">
          <ac:chgData name="Annette Ysland Ludvigsen" userId="5cc2156a-4192-4fe6-8372-bcf947567e0f" providerId="ADAL" clId="{83C5B975-F26D-414E-9131-DF85FD8BC002}" dt="2021-06-16T10:59:25.981" v="1769" actId="478"/>
          <ac:cxnSpMkLst>
            <pc:docMk/>
            <pc:sldMk cId="3564371947" sldId="4136"/>
            <ac:cxnSpMk id="11" creationId="{4395D89F-9B1D-453D-88B2-D0C4AA949625}"/>
          </ac:cxnSpMkLst>
        </pc:cxnChg>
        <pc:cxnChg chg="del mod">
          <ac:chgData name="Annette Ysland Ludvigsen" userId="5cc2156a-4192-4fe6-8372-bcf947567e0f" providerId="ADAL" clId="{83C5B975-F26D-414E-9131-DF85FD8BC002}" dt="2021-06-16T10:59:24.689" v="1768" actId="478"/>
          <ac:cxnSpMkLst>
            <pc:docMk/>
            <pc:sldMk cId="3564371947" sldId="4136"/>
            <ac:cxnSpMk id="27" creationId="{DA577178-C48F-40AC-8BEA-B09D30B7B69B}"/>
          </ac:cxnSpMkLst>
        </pc:cxnChg>
        <pc:cxnChg chg="del mod">
          <ac:chgData name="Annette Ysland Ludvigsen" userId="5cc2156a-4192-4fe6-8372-bcf947567e0f" providerId="ADAL" clId="{83C5B975-F26D-414E-9131-DF85FD8BC002}" dt="2021-06-16T10:59:32.832" v="1775" actId="478"/>
          <ac:cxnSpMkLst>
            <pc:docMk/>
            <pc:sldMk cId="3564371947" sldId="4136"/>
            <ac:cxnSpMk id="32" creationId="{AB6F172F-8F70-4F15-BB8A-2A5FBCFCED7D}"/>
          </ac:cxnSpMkLst>
        </pc:cxnChg>
        <pc:cxnChg chg="del mod">
          <ac:chgData name="Annette Ysland Ludvigsen" userId="5cc2156a-4192-4fe6-8372-bcf947567e0f" providerId="ADAL" clId="{83C5B975-F26D-414E-9131-DF85FD8BC002}" dt="2021-06-16T10:59:31.497" v="1774" actId="478"/>
          <ac:cxnSpMkLst>
            <pc:docMk/>
            <pc:sldMk cId="3564371947" sldId="4136"/>
            <ac:cxnSpMk id="38" creationId="{42B526F7-70A0-4EB1-BC42-6656DA45AFF8}"/>
          </ac:cxnSpMkLst>
        </pc:cxnChg>
        <pc:cxnChg chg="mod">
          <ac:chgData name="Annette Ysland Ludvigsen" userId="5cc2156a-4192-4fe6-8372-bcf947567e0f" providerId="ADAL" clId="{83C5B975-F26D-414E-9131-DF85FD8BC002}" dt="2021-06-16T11:00:13.677" v="1789" actId="1076"/>
          <ac:cxnSpMkLst>
            <pc:docMk/>
            <pc:sldMk cId="3564371947" sldId="4136"/>
            <ac:cxnSpMk id="77" creationId="{3D37DB63-AB35-4043-9622-07AF3D3C7749}"/>
          </ac:cxnSpMkLst>
        </pc:cxnChg>
        <pc:cxnChg chg="mod">
          <ac:chgData name="Annette Ysland Ludvigsen" userId="5cc2156a-4192-4fe6-8372-bcf947567e0f" providerId="ADAL" clId="{83C5B975-F26D-414E-9131-DF85FD8BC002}" dt="2021-06-16T11:00:13.677" v="1789" actId="1076"/>
          <ac:cxnSpMkLst>
            <pc:docMk/>
            <pc:sldMk cId="3564371947" sldId="4136"/>
            <ac:cxnSpMk id="78" creationId="{8985A469-5846-463F-8262-F298A4F9AE5C}"/>
          </ac:cxnSpMkLst>
        </pc:cxnChg>
        <pc:cxnChg chg="del mod">
          <ac:chgData name="Annette Ysland Ludvigsen" userId="5cc2156a-4192-4fe6-8372-bcf947567e0f" providerId="ADAL" clId="{83C5B975-F26D-414E-9131-DF85FD8BC002}" dt="2021-06-16T11:00:01.961" v="1785" actId="478"/>
          <ac:cxnSpMkLst>
            <pc:docMk/>
            <pc:sldMk cId="3564371947" sldId="4136"/>
            <ac:cxnSpMk id="89" creationId="{53E93D0E-E669-4F5F-9D91-7CC990B2DAA7}"/>
          </ac:cxnSpMkLst>
        </pc:cxnChg>
        <pc:cxnChg chg="del mod">
          <ac:chgData name="Annette Ysland Ludvigsen" userId="5cc2156a-4192-4fe6-8372-bcf947567e0f" providerId="ADAL" clId="{83C5B975-F26D-414E-9131-DF85FD8BC002}" dt="2021-06-16T10:59:23.059" v="1766" actId="478"/>
          <ac:cxnSpMkLst>
            <pc:docMk/>
            <pc:sldMk cId="3564371947" sldId="4136"/>
            <ac:cxnSpMk id="97" creationId="{A9195798-BBDC-47F1-9CE6-1DA1CA2B7B9A}"/>
          </ac:cxnSpMkLst>
        </pc:cxnChg>
        <pc:cxnChg chg="mod">
          <ac:chgData name="Annette Ysland Ludvigsen" userId="5cc2156a-4192-4fe6-8372-bcf947567e0f" providerId="ADAL" clId="{83C5B975-F26D-414E-9131-DF85FD8BC002}" dt="2021-06-16T11:00:13.677" v="1789" actId="1076"/>
          <ac:cxnSpMkLst>
            <pc:docMk/>
            <pc:sldMk cId="3564371947" sldId="4136"/>
            <ac:cxnSpMk id="98" creationId="{EF1ADE43-F2DC-482E-872A-368CF24FA13A}"/>
          </ac:cxnSpMkLst>
        </pc:cxnChg>
        <pc:cxnChg chg="del mod">
          <ac:chgData name="Annette Ysland Ludvigsen" userId="5cc2156a-4192-4fe6-8372-bcf947567e0f" providerId="ADAL" clId="{83C5B975-F26D-414E-9131-DF85FD8BC002}" dt="2021-06-16T10:59:30.905" v="1773" actId="478"/>
          <ac:cxnSpMkLst>
            <pc:docMk/>
            <pc:sldMk cId="3564371947" sldId="4136"/>
            <ac:cxnSpMk id="107" creationId="{867F0CC5-B63E-463B-A9AC-19FC90385BF0}"/>
          </ac:cxnSpMkLst>
        </pc:cxnChg>
        <pc:cxnChg chg="del mod">
          <ac:chgData name="Annette Ysland Ludvigsen" userId="5cc2156a-4192-4fe6-8372-bcf947567e0f" providerId="ADAL" clId="{83C5B975-F26D-414E-9131-DF85FD8BC002}" dt="2021-06-16T10:59:23.644" v="1767" actId="478"/>
          <ac:cxnSpMkLst>
            <pc:docMk/>
            <pc:sldMk cId="3564371947" sldId="4136"/>
            <ac:cxnSpMk id="111" creationId="{CD1E2E20-D7CE-41BB-917C-A0F80D71311C}"/>
          </ac:cxnSpMkLst>
        </pc:cxnChg>
        <pc:cxnChg chg="del mod">
          <ac:chgData name="Annette Ysland Ludvigsen" userId="5cc2156a-4192-4fe6-8372-bcf947567e0f" providerId="ADAL" clId="{83C5B975-F26D-414E-9131-DF85FD8BC002}" dt="2021-06-16T11:00:03.132" v="1786" actId="478"/>
          <ac:cxnSpMkLst>
            <pc:docMk/>
            <pc:sldMk cId="3564371947" sldId="4136"/>
            <ac:cxnSpMk id="141" creationId="{D72F803F-5591-456B-BAF1-7589A573F07B}"/>
          </ac:cxnSpMkLst>
        </pc:cxnChg>
      </pc:sldChg>
      <pc:sldChg chg="new del">
        <pc:chgData name="Annette Ysland Ludvigsen" userId="5cc2156a-4192-4fe6-8372-bcf947567e0f" providerId="ADAL" clId="{83C5B975-F26D-414E-9131-DF85FD8BC002}" dt="2021-06-16T11:04:37.796" v="2127" actId="680"/>
        <pc:sldMkLst>
          <pc:docMk/>
          <pc:sldMk cId="267211098" sldId="4137"/>
        </pc:sldMkLst>
      </pc:sldChg>
      <pc:sldChg chg="addSp delSp modSp add mod addAnim delAnim modAnim">
        <pc:chgData name="Annette Ysland Ludvigsen" userId="5cc2156a-4192-4fe6-8372-bcf947567e0f" providerId="ADAL" clId="{83C5B975-F26D-414E-9131-DF85FD8BC002}" dt="2021-06-21T10:07:16.874" v="4712" actId="1076"/>
        <pc:sldMkLst>
          <pc:docMk/>
          <pc:sldMk cId="389241023" sldId="4137"/>
        </pc:sldMkLst>
        <pc:spChg chg="add del">
          <ac:chgData name="Annette Ysland Ludvigsen" userId="5cc2156a-4192-4fe6-8372-bcf947567e0f" providerId="ADAL" clId="{83C5B975-F26D-414E-9131-DF85FD8BC002}" dt="2021-06-21T05:37:51.989" v="4563" actId="11529"/>
          <ac:spMkLst>
            <pc:docMk/>
            <pc:sldMk cId="389241023" sldId="4137"/>
            <ac:spMk id="2" creationId="{09394F17-9BF0-4FB5-AB0B-4316603022E7}"/>
          </ac:spMkLst>
        </pc:spChg>
        <pc:spChg chg="add del mod">
          <ac:chgData name="Annette Ysland Ludvigsen" userId="5cc2156a-4192-4fe6-8372-bcf947567e0f" providerId="ADAL" clId="{83C5B975-F26D-414E-9131-DF85FD8BC002}" dt="2021-06-17T12:29:16.138" v="4189" actId="478"/>
          <ac:spMkLst>
            <pc:docMk/>
            <pc:sldMk cId="389241023" sldId="4137"/>
            <ac:spMk id="2" creationId="{FC6BC360-E427-4020-B68A-E246DA55B7AE}"/>
          </ac:spMkLst>
        </pc:spChg>
        <pc:spChg chg="mod">
          <ac:chgData name="Annette Ysland Ludvigsen" userId="5cc2156a-4192-4fe6-8372-bcf947567e0f" providerId="ADAL" clId="{83C5B975-F26D-414E-9131-DF85FD8BC002}" dt="2021-06-16T11:16:10.970" v="2334" actId="20577"/>
          <ac:spMkLst>
            <pc:docMk/>
            <pc:sldMk cId="389241023" sldId="4137"/>
            <ac:spMk id="7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21T10:07:16.874" v="4712" actId="1076"/>
          <ac:spMkLst>
            <pc:docMk/>
            <pc:sldMk cId="389241023" sldId="4137"/>
            <ac:spMk id="39" creationId="{BA29E47A-15C6-4347-A8CC-1D75D7EBDFB7}"/>
          </ac:spMkLst>
        </pc:spChg>
        <pc:spChg chg="add mod">
          <ac:chgData name="Annette Ysland Ludvigsen" userId="5cc2156a-4192-4fe6-8372-bcf947567e0f" providerId="ADAL" clId="{83C5B975-F26D-414E-9131-DF85FD8BC002}" dt="2021-06-21T05:20:47.365" v="4473" actId="14100"/>
          <ac:spMkLst>
            <pc:docMk/>
            <pc:sldMk cId="389241023" sldId="4137"/>
            <ac:spMk id="49" creationId="{8DC26F51-F4D6-49D6-A977-B605B744CCFD}"/>
          </ac:spMkLst>
        </pc:spChg>
        <pc:spChg chg="add del mod">
          <ac:chgData name="Annette Ysland Ludvigsen" userId="5cc2156a-4192-4fe6-8372-bcf947567e0f" providerId="ADAL" clId="{83C5B975-F26D-414E-9131-DF85FD8BC002}" dt="2021-06-21T05:37:56.429" v="4569"/>
          <ac:spMkLst>
            <pc:docMk/>
            <pc:sldMk cId="389241023" sldId="4137"/>
            <ac:spMk id="50" creationId="{30207023-0C9F-4C42-B0B3-F90BA96F264D}"/>
          </ac:spMkLst>
        </pc:spChg>
        <pc:spChg chg="mod">
          <ac:chgData name="Annette Ysland Ludvigsen" userId="5cc2156a-4192-4fe6-8372-bcf947567e0f" providerId="ADAL" clId="{83C5B975-F26D-414E-9131-DF85FD8BC002}" dt="2021-06-21T05:37:57.014" v="4570" actId="14100"/>
          <ac:spMkLst>
            <pc:docMk/>
            <pc:sldMk cId="389241023" sldId="4137"/>
            <ac:spMk id="52" creationId="{00000000-0000-0000-0000-000000000000}"/>
          </ac:spMkLst>
        </pc:spChg>
        <pc:spChg chg="add del mod">
          <ac:chgData name="Annette Ysland Ludvigsen" userId="5cc2156a-4192-4fe6-8372-bcf947567e0f" providerId="ADAL" clId="{83C5B975-F26D-414E-9131-DF85FD8BC002}" dt="2021-06-21T05:37:58.757" v="4572" actId="478"/>
          <ac:spMkLst>
            <pc:docMk/>
            <pc:sldMk cId="389241023" sldId="4137"/>
            <ac:spMk id="55" creationId="{5EAF22DB-1ED6-4326-9B12-4F7F348A9134}"/>
          </ac:spMkLst>
        </pc:spChg>
        <pc:spChg chg="mod">
          <ac:chgData name="Annette Ysland Ludvigsen" userId="5cc2156a-4192-4fe6-8372-bcf947567e0f" providerId="ADAL" clId="{83C5B975-F26D-414E-9131-DF85FD8BC002}" dt="2021-06-21T05:37:57.856" v="4571" actId="14100"/>
          <ac:spMkLst>
            <pc:docMk/>
            <pc:sldMk cId="389241023" sldId="4137"/>
            <ac:spMk id="59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21T05:20:51.414" v="4474" actId="1076"/>
          <ac:spMkLst>
            <pc:docMk/>
            <pc:sldMk cId="389241023" sldId="4137"/>
            <ac:spMk id="96" creationId="{D5230231-B9F4-46CA-AEC9-B82D6A203933}"/>
          </ac:spMkLst>
        </pc:spChg>
        <pc:spChg chg="mod">
          <ac:chgData name="Annette Ysland Ludvigsen" userId="5cc2156a-4192-4fe6-8372-bcf947567e0f" providerId="ADAL" clId="{83C5B975-F26D-414E-9131-DF85FD8BC002}" dt="2021-06-16T11:46:54.306" v="2894" actId="113"/>
          <ac:spMkLst>
            <pc:docMk/>
            <pc:sldMk cId="389241023" sldId="4137"/>
            <ac:spMk id="112" creationId="{00000000-0000-0000-0000-000000000000}"/>
          </ac:spMkLst>
        </pc:spChg>
        <pc:spChg chg="mod">
          <ac:chgData name="Annette Ysland Ludvigsen" userId="5cc2156a-4192-4fe6-8372-bcf947567e0f" providerId="ADAL" clId="{83C5B975-F26D-414E-9131-DF85FD8BC002}" dt="2021-06-16T11:18:42.811" v="2352" actId="20577"/>
          <ac:spMkLst>
            <pc:docMk/>
            <pc:sldMk cId="389241023" sldId="4137"/>
            <ac:spMk id="113" creationId="{0FC9E4D4-DE55-4588-BEBD-80201151A4F7}"/>
          </ac:spMkLst>
        </pc:spChg>
        <pc:spChg chg="del">
          <ac:chgData name="Annette Ysland Ludvigsen" userId="5cc2156a-4192-4fe6-8372-bcf947567e0f" providerId="ADAL" clId="{83C5B975-F26D-414E-9131-DF85FD8BC002}" dt="2021-06-16T11:18:30.335" v="2346" actId="478"/>
          <ac:spMkLst>
            <pc:docMk/>
            <pc:sldMk cId="389241023" sldId="4137"/>
            <ac:spMk id="117" creationId="{4228F3B3-5549-47FB-8A37-C22D9A2A0307}"/>
          </ac:spMkLst>
        </pc:spChg>
        <pc:spChg chg="del">
          <ac:chgData name="Annette Ysland Ludvigsen" userId="5cc2156a-4192-4fe6-8372-bcf947567e0f" providerId="ADAL" clId="{83C5B975-F26D-414E-9131-DF85FD8BC002}" dt="2021-06-16T11:18:28.955" v="2345" actId="478"/>
          <ac:spMkLst>
            <pc:docMk/>
            <pc:sldMk cId="389241023" sldId="4137"/>
            <ac:spMk id="137" creationId="{978AF6FC-1B59-4D59-88A6-4DF06A17D44A}"/>
          </ac:spMkLst>
        </pc:spChg>
        <pc:cxnChg chg="del mod">
          <ac:chgData name="Annette Ysland Ludvigsen" userId="5cc2156a-4192-4fe6-8372-bcf947567e0f" providerId="ADAL" clId="{83C5B975-F26D-414E-9131-DF85FD8BC002}" dt="2021-06-16T11:18:32.632" v="2348" actId="478"/>
          <ac:cxnSpMkLst>
            <pc:docMk/>
            <pc:sldMk cId="389241023" sldId="4137"/>
            <ac:cxnSpMk id="97" creationId="{A9195798-BBDC-47F1-9CE6-1DA1CA2B7B9A}"/>
          </ac:cxnSpMkLst>
        </pc:cxnChg>
        <pc:cxnChg chg="del mod">
          <ac:chgData name="Annette Ysland Ludvigsen" userId="5cc2156a-4192-4fe6-8372-bcf947567e0f" providerId="ADAL" clId="{83C5B975-F26D-414E-9131-DF85FD8BC002}" dt="2021-06-16T11:18:31.219" v="2347" actId="478"/>
          <ac:cxnSpMkLst>
            <pc:docMk/>
            <pc:sldMk cId="389241023" sldId="4137"/>
            <ac:cxnSpMk id="111" creationId="{CD1E2E20-D7CE-41BB-917C-A0F80D71311C}"/>
          </ac:cxnSpMkLst>
        </pc:cxnChg>
      </pc:sldChg>
      <pc:sldChg chg="add del">
        <pc:chgData name="Annette Ysland Ludvigsen" userId="5cc2156a-4192-4fe6-8372-bcf947567e0f" providerId="ADAL" clId="{83C5B975-F26D-414E-9131-DF85FD8BC002}" dt="2021-06-16T11:14:58.042" v="2279"/>
        <pc:sldMkLst>
          <pc:docMk/>
          <pc:sldMk cId="3598769046" sldId="4137"/>
        </pc:sldMkLst>
      </pc:sldChg>
      <pc:sldChg chg="addSp modSp new mod modAnim">
        <pc:chgData name="Annette Ysland Ludvigsen" userId="5cc2156a-4192-4fe6-8372-bcf947567e0f" providerId="ADAL" clId="{83C5B975-F26D-414E-9131-DF85FD8BC002}" dt="2021-06-16T13:06:29.909" v="3933"/>
        <pc:sldMkLst>
          <pc:docMk/>
          <pc:sldMk cId="3726777316" sldId="4138"/>
        </pc:sldMkLst>
        <pc:spChg chg="mod">
          <ac:chgData name="Annette Ysland Ludvigsen" userId="5cc2156a-4192-4fe6-8372-bcf947567e0f" providerId="ADAL" clId="{83C5B975-F26D-414E-9131-DF85FD8BC002}" dt="2021-06-16T11:44:05.440" v="2878" actId="1076"/>
          <ac:spMkLst>
            <pc:docMk/>
            <pc:sldMk cId="3726777316" sldId="4138"/>
            <ac:spMk id="2" creationId="{35BDB7EA-D6B2-4C68-A9AF-19FDB120D343}"/>
          </ac:spMkLst>
        </pc:spChg>
        <pc:spChg chg="add mod">
          <ac:chgData name="Annette Ysland Ludvigsen" userId="5cc2156a-4192-4fe6-8372-bcf947567e0f" providerId="ADAL" clId="{83C5B975-F26D-414E-9131-DF85FD8BC002}" dt="2021-06-16T11:45:19.168" v="2879" actId="14100"/>
          <ac:spMkLst>
            <pc:docMk/>
            <pc:sldMk cId="3726777316" sldId="4138"/>
            <ac:spMk id="3" creationId="{3364F3FE-CC96-4E29-932D-61A83D9A3F29}"/>
          </ac:spMkLst>
        </pc:spChg>
        <pc:spChg chg="add mod">
          <ac:chgData name="Annette Ysland Ludvigsen" userId="5cc2156a-4192-4fe6-8372-bcf947567e0f" providerId="ADAL" clId="{83C5B975-F26D-414E-9131-DF85FD8BC002}" dt="2021-06-16T11:35:19.179" v="2403"/>
          <ac:spMkLst>
            <pc:docMk/>
            <pc:sldMk cId="3726777316" sldId="4138"/>
            <ac:spMk id="5" creationId="{3EC2DB86-E8C8-4BA2-90CB-93710D20C62A}"/>
          </ac:spMkLst>
        </pc:spChg>
        <pc:spChg chg="add mod">
          <ac:chgData name="Annette Ysland Ludvigsen" userId="5cc2156a-4192-4fe6-8372-bcf947567e0f" providerId="ADAL" clId="{83C5B975-F26D-414E-9131-DF85FD8BC002}" dt="2021-06-16T11:35:19.179" v="2403"/>
          <ac:spMkLst>
            <pc:docMk/>
            <pc:sldMk cId="3726777316" sldId="4138"/>
            <ac:spMk id="6" creationId="{F0C24184-0282-448C-9211-4C2F4D297260}"/>
          </ac:spMkLst>
        </pc:spChg>
        <pc:spChg chg="add mod">
          <ac:chgData name="Annette Ysland Ludvigsen" userId="5cc2156a-4192-4fe6-8372-bcf947567e0f" providerId="ADAL" clId="{83C5B975-F26D-414E-9131-DF85FD8BC002}" dt="2021-06-16T12:17:58.984" v="3795" actId="1076"/>
          <ac:spMkLst>
            <pc:docMk/>
            <pc:sldMk cId="3726777316" sldId="4138"/>
            <ac:spMk id="10" creationId="{D84546D4-9D9C-4B4F-A27F-777BB2BEF8B7}"/>
          </ac:spMkLst>
        </pc:spChg>
        <pc:grpChg chg="add mod">
          <ac:chgData name="Annette Ysland Ludvigsen" userId="5cc2156a-4192-4fe6-8372-bcf947567e0f" providerId="ADAL" clId="{83C5B975-F26D-414E-9131-DF85FD8BC002}" dt="2021-06-16T11:35:19.179" v="2403"/>
          <ac:grpSpMkLst>
            <pc:docMk/>
            <pc:sldMk cId="3726777316" sldId="4138"/>
            <ac:grpSpMk id="4" creationId="{346034CF-BA78-48ED-BA62-BABABD22F69D}"/>
          </ac:grpSpMkLst>
        </pc:grpChg>
        <pc:graphicFrameChg chg="add mod">
          <ac:chgData name="Annette Ysland Ludvigsen" userId="5cc2156a-4192-4fe6-8372-bcf947567e0f" providerId="ADAL" clId="{83C5B975-F26D-414E-9131-DF85FD8BC002}" dt="2021-06-16T11:41:37.037" v="2727" actId="20577"/>
          <ac:graphicFrameMkLst>
            <pc:docMk/>
            <pc:sldMk cId="3726777316" sldId="4138"/>
            <ac:graphicFrameMk id="7" creationId="{90D9A4E8-D33F-42FB-9AE7-1EA30F7237A1}"/>
          </ac:graphicFrameMkLst>
        </pc:graphicFrameChg>
        <pc:graphicFrameChg chg="add mod">
          <ac:chgData name="Annette Ysland Ludvigsen" userId="5cc2156a-4192-4fe6-8372-bcf947567e0f" providerId="ADAL" clId="{83C5B975-F26D-414E-9131-DF85FD8BC002}" dt="2021-06-16T11:43:56.446" v="2877"/>
          <ac:graphicFrameMkLst>
            <pc:docMk/>
            <pc:sldMk cId="3726777316" sldId="4138"/>
            <ac:graphicFrameMk id="8" creationId="{33B9F6D7-3B30-46E4-BCEC-10E756AE3798}"/>
          </ac:graphicFrameMkLst>
        </pc:graphicFrameChg>
        <pc:picChg chg="add mod">
          <ac:chgData name="Annette Ysland Ludvigsen" userId="5cc2156a-4192-4fe6-8372-bcf947567e0f" providerId="ADAL" clId="{83C5B975-F26D-414E-9131-DF85FD8BC002}" dt="2021-06-16T12:17:21.722" v="3747"/>
          <ac:picMkLst>
            <pc:docMk/>
            <pc:sldMk cId="3726777316" sldId="4138"/>
            <ac:picMk id="9" creationId="{304EA552-5415-4FD2-85C5-5D378A8F7298}"/>
          </ac:picMkLst>
        </pc:picChg>
      </pc:sldChg>
      <pc:sldChg chg="add">
        <pc:chgData name="Annette Ysland Ludvigsen" userId="5cc2156a-4192-4fe6-8372-bcf947567e0f" providerId="ADAL" clId="{83C5B975-F26D-414E-9131-DF85FD8BC002}" dt="2021-06-21T05:40:50.547" v="4573"/>
        <pc:sldMkLst>
          <pc:docMk/>
          <pc:sldMk cId="1261258381" sldId="4139"/>
        </pc:sldMkLst>
      </pc:sldChg>
      <pc:sldChg chg="add ord">
        <pc:chgData name="Annette Ysland Ludvigsen" userId="5cc2156a-4192-4fe6-8372-bcf947567e0f" providerId="ADAL" clId="{83C5B975-F26D-414E-9131-DF85FD8BC002}" dt="2021-06-21T06:20:30.564" v="4577"/>
        <pc:sldMkLst>
          <pc:docMk/>
          <pc:sldMk cId="980788905" sldId="4140"/>
        </pc:sldMkLst>
      </pc:sldChg>
      <pc:sldChg chg="addSp delSp modSp new mod ord modAnim">
        <pc:chgData name="Annette Ysland Ludvigsen" userId="5cc2156a-4192-4fe6-8372-bcf947567e0f" providerId="ADAL" clId="{83C5B975-F26D-414E-9131-DF85FD8BC002}" dt="2021-06-22T05:29:11.092" v="5222" actId="1076"/>
        <pc:sldMkLst>
          <pc:docMk/>
          <pc:sldMk cId="2440683946" sldId="4141"/>
        </pc:sldMkLst>
        <pc:spChg chg="mod">
          <ac:chgData name="Annette Ysland Ludvigsen" userId="5cc2156a-4192-4fe6-8372-bcf947567e0f" providerId="ADAL" clId="{83C5B975-F26D-414E-9131-DF85FD8BC002}" dt="2021-06-21T10:02:25.883" v="4694" actId="14100"/>
          <ac:spMkLst>
            <pc:docMk/>
            <pc:sldMk cId="2440683946" sldId="4141"/>
            <ac:spMk id="2" creationId="{59FD996C-3548-461F-AD9A-230A967FAD92}"/>
          </ac:spMkLst>
        </pc:spChg>
        <pc:spChg chg="add del mod">
          <ac:chgData name="Annette Ysland Ludvigsen" userId="5cc2156a-4192-4fe6-8372-bcf947567e0f" providerId="ADAL" clId="{83C5B975-F26D-414E-9131-DF85FD8BC002}" dt="2021-06-21T10:07:10.353" v="4711" actId="478"/>
          <ac:spMkLst>
            <pc:docMk/>
            <pc:sldMk cId="2440683946" sldId="4141"/>
            <ac:spMk id="9" creationId="{AE336B3F-E3B2-426D-9146-7F3241277357}"/>
          </ac:spMkLst>
        </pc:spChg>
        <pc:spChg chg="add mod">
          <ac:chgData name="Annette Ysland Ludvigsen" userId="5cc2156a-4192-4fe6-8372-bcf947567e0f" providerId="ADAL" clId="{83C5B975-F26D-414E-9131-DF85FD8BC002}" dt="2021-06-21T10:07:43.862" v="4724" actId="1076"/>
          <ac:spMkLst>
            <pc:docMk/>
            <pc:sldMk cId="2440683946" sldId="4141"/>
            <ac:spMk id="10" creationId="{D847D9C7-FAD5-47D0-AE81-4A0FC073A3E5}"/>
          </ac:spMkLst>
        </pc:spChg>
        <pc:spChg chg="add mod">
          <ac:chgData name="Annette Ysland Ludvigsen" userId="5cc2156a-4192-4fe6-8372-bcf947567e0f" providerId="ADAL" clId="{83C5B975-F26D-414E-9131-DF85FD8BC002}" dt="2021-06-21T10:07:45.256" v="4725" actId="1076"/>
          <ac:spMkLst>
            <pc:docMk/>
            <pc:sldMk cId="2440683946" sldId="4141"/>
            <ac:spMk id="11" creationId="{B5B77502-D2F8-4255-9989-AC263A920BCB}"/>
          </ac:spMkLst>
        </pc:spChg>
        <pc:spChg chg="add mod">
          <ac:chgData name="Annette Ysland Ludvigsen" userId="5cc2156a-4192-4fe6-8372-bcf947567e0f" providerId="ADAL" clId="{83C5B975-F26D-414E-9131-DF85FD8BC002}" dt="2021-06-21T10:08:32.867" v="4736" actId="207"/>
          <ac:spMkLst>
            <pc:docMk/>
            <pc:sldMk cId="2440683946" sldId="4141"/>
            <ac:spMk id="13" creationId="{AA755350-4762-4667-93FB-96BC3BDAFD2B}"/>
          </ac:spMkLst>
        </pc:spChg>
        <pc:spChg chg="add mod">
          <ac:chgData name="Annette Ysland Ludvigsen" userId="5cc2156a-4192-4fe6-8372-bcf947567e0f" providerId="ADAL" clId="{83C5B975-F26D-414E-9131-DF85FD8BC002}" dt="2021-06-21T10:08:29.494" v="4734" actId="207"/>
          <ac:spMkLst>
            <pc:docMk/>
            <pc:sldMk cId="2440683946" sldId="4141"/>
            <ac:spMk id="14" creationId="{B9AC3C2D-1354-4334-9D94-C9313645F888}"/>
          </ac:spMkLst>
        </pc:spChg>
        <pc:spChg chg="add mod">
          <ac:chgData name="Annette Ysland Ludvigsen" userId="5cc2156a-4192-4fe6-8372-bcf947567e0f" providerId="ADAL" clId="{83C5B975-F26D-414E-9131-DF85FD8BC002}" dt="2021-06-21T10:08:51.208" v="4754" actId="1076"/>
          <ac:spMkLst>
            <pc:docMk/>
            <pc:sldMk cId="2440683946" sldId="4141"/>
            <ac:spMk id="15" creationId="{521C6EF1-1614-47ED-B00E-C2567FA0A78F}"/>
          </ac:spMkLst>
        </pc:spChg>
        <pc:picChg chg="add mod ord">
          <ac:chgData name="Annette Ysland Ludvigsen" userId="5cc2156a-4192-4fe6-8372-bcf947567e0f" providerId="ADAL" clId="{83C5B975-F26D-414E-9131-DF85FD8BC002}" dt="2021-06-22T05:29:07.370" v="5221" actId="1076"/>
          <ac:picMkLst>
            <pc:docMk/>
            <pc:sldMk cId="2440683946" sldId="4141"/>
            <ac:picMk id="3" creationId="{E3026AC2-32EA-4CAC-88F3-A507EBFE4B75}"/>
          </ac:picMkLst>
        </pc:picChg>
        <pc:picChg chg="add mod">
          <ac:chgData name="Annette Ysland Ludvigsen" userId="5cc2156a-4192-4fe6-8372-bcf947567e0f" providerId="ADAL" clId="{83C5B975-F26D-414E-9131-DF85FD8BC002}" dt="2021-06-22T05:29:11.092" v="5222" actId="1076"/>
          <ac:picMkLst>
            <pc:docMk/>
            <pc:sldMk cId="2440683946" sldId="4141"/>
            <ac:picMk id="4" creationId="{F1233A3E-45A6-463B-AEFF-6249C6DD5F90}"/>
          </ac:picMkLst>
        </pc:picChg>
        <pc:picChg chg="add del mod">
          <ac:chgData name="Annette Ysland Ludvigsen" userId="5cc2156a-4192-4fe6-8372-bcf947567e0f" providerId="ADAL" clId="{83C5B975-F26D-414E-9131-DF85FD8BC002}" dt="2021-06-21T10:06:02.896" v="4701" actId="478"/>
          <ac:picMkLst>
            <pc:docMk/>
            <pc:sldMk cId="2440683946" sldId="4141"/>
            <ac:picMk id="6" creationId="{836955CE-97EC-4F60-A023-7EE2777EF03C}"/>
          </ac:picMkLst>
        </pc:picChg>
        <pc:picChg chg="add del mod">
          <ac:chgData name="Annette Ysland Ludvigsen" userId="5cc2156a-4192-4fe6-8372-bcf947567e0f" providerId="ADAL" clId="{83C5B975-F26D-414E-9131-DF85FD8BC002}" dt="2021-06-21T10:06:40.672" v="4703" actId="478"/>
          <ac:picMkLst>
            <pc:docMk/>
            <pc:sldMk cId="2440683946" sldId="4141"/>
            <ac:picMk id="8" creationId="{59B9F0DC-F097-4301-8D09-4C4376623E5D}"/>
          </ac:picMkLst>
        </pc:picChg>
        <pc:picChg chg="add mod modCrop">
          <ac:chgData name="Annette Ysland Ludvigsen" userId="5cc2156a-4192-4fe6-8372-bcf947567e0f" providerId="ADAL" clId="{83C5B975-F26D-414E-9131-DF85FD8BC002}" dt="2021-06-21T10:08:09.706" v="4729" actId="1076"/>
          <ac:picMkLst>
            <pc:docMk/>
            <pc:sldMk cId="2440683946" sldId="4141"/>
            <ac:picMk id="12" creationId="{742C7EB6-10E2-4340-B0CF-A2EA009E08A3}"/>
          </ac:picMkLst>
        </pc:picChg>
      </pc:sldChg>
      <pc:sldChg chg="addSp delSp modSp new mod modAnim">
        <pc:chgData name="Annette Ysland Ludvigsen" userId="5cc2156a-4192-4fe6-8372-bcf947567e0f" providerId="ADAL" clId="{83C5B975-F26D-414E-9131-DF85FD8BC002}" dt="2021-06-23T06:15:38.469" v="5471" actId="1076"/>
        <pc:sldMkLst>
          <pc:docMk/>
          <pc:sldMk cId="2263165352" sldId="4142"/>
        </pc:sldMkLst>
        <pc:spChg chg="mod">
          <ac:chgData name="Annette Ysland Ludvigsen" userId="5cc2156a-4192-4fe6-8372-bcf947567e0f" providerId="ADAL" clId="{83C5B975-F26D-414E-9131-DF85FD8BC002}" dt="2021-06-21T19:47:19.858" v="5094" actId="20577"/>
          <ac:spMkLst>
            <pc:docMk/>
            <pc:sldMk cId="2263165352" sldId="4142"/>
            <ac:spMk id="2" creationId="{B437A53F-8ADA-4F50-9329-3A53A989A702}"/>
          </ac:spMkLst>
        </pc:spChg>
        <pc:spChg chg="add mod">
          <ac:chgData name="Annette Ysland Ludvigsen" userId="5cc2156a-4192-4fe6-8372-bcf947567e0f" providerId="ADAL" clId="{83C5B975-F26D-414E-9131-DF85FD8BC002}" dt="2021-06-21T19:51:07.670" v="5152" actId="122"/>
          <ac:spMkLst>
            <pc:docMk/>
            <pc:sldMk cId="2263165352" sldId="4142"/>
            <ac:spMk id="8" creationId="{3B7EF888-FFF8-4220-91E1-1ECA3DB9C4C0}"/>
          </ac:spMkLst>
        </pc:spChg>
        <pc:spChg chg="add mod">
          <ac:chgData name="Annette Ysland Ludvigsen" userId="5cc2156a-4192-4fe6-8372-bcf947567e0f" providerId="ADAL" clId="{83C5B975-F26D-414E-9131-DF85FD8BC002}" dt="2021-06-21T19:51:12.196" v="5154" actId="14100"/>
          <ac:spMkLst>
            <pc:docMk/>
            <pc:sldMk cId="2263165352" sldId="4142"/>
            <ac:spMk id="9" creationId="{5A21AA38-339F-4910-8397-CE6AD0FDDC19}"/>
          </ac:spMkLst>
        </pc:spChg>
        <pc:spChg chg="add mod">
          <ac:chgData name="Annette Ysland Ludvigsen" userId="5cc2156a-4192-4fe6-8372-bcf947567e0f" providerId="ADAL" clId="{83C5B975-F26D-414E-9131-DF85FD8BC002}" dt="2021-06-21T19:51:22.374" v="5157" actId="14100"/>
          <ac:spMkLst>
            <pc:docMk/>
            <pc:sldMk cId="2263165352" sldId="4142"/>
            <ac:spMk id="10" creationId="{93378EC8-D42E-4A36-B994-AACA88C6BC70}"/>
          </ac:spMkLst>
        </pc:spChg>
        <pc:spChg chg="add mod">
          <ac:chgData name="Annette Ysland Ludvigsen" userId="5cc2156a-4192-4fe6-8372-bcf947567e0f" providerId="ADAL" clId="{83C5B975-F26D-414E-9131-DF85FD8BC002}" dt="2021-06-21T19:48:52.906" v="5113" actId="1076"/>
          <ac:spMkLst>
            <pc:docMk/>
            <pc:sldMk cId="2263165352" sldId="4142"/>
            <ac:spMk id="11" creationId="{964F3B08-7059-4A5C-8A79-0F2AF88D81A1}"/>
          </ac:spMkLst>
        </pc:spChg>
        <pc:spChg chg="add mod">
          <ac:chgData name="Annette Ysland Ludvigsen" userId="5cc2156a-4192-4fe6-8372-bcf947567e0f" providerId="ADAL" clId="{83C5B975-F26D-414E-9131-DF85FD8BC002}" dt="2021-06-21T19:49:01.092" v="5115" actId="1076"/>
          <ac:spMkLst>
            <pc:docMk/>
            <pc:sldMk cId="2263165352" sldId="4142"/>
            <ac:spMk id="12" creationId="{F1A3D189-A98B-4F84-BF35-330806455131}"/>
          </ac:spMkLst>
        </pc:spChg>
        <pc:spChg chg="add mod">
          <ac:chgData name="Annette Ysland Ludvigsen" userId="5cc2156a-4192-4fe6-8372-bcf947567e0f" providerId="ADAL" clId="{83C5B975-F26D-414E-9131-DF85FD8BC002}" dt="2021-06-21T19:48:56.817" v="5114" actId="1076"/>
          <ac:spMkLst>
            <pc:docMk/>
            <pc:sldMk cId="2263165352" sldId="4142"/>
            <ac:spMk id="13" creationId="{B9F34607-E6E5-4E07-9840-3AC107E664A0}"/>
          </ac:spMkLst>
        </pc:spChg>
        <pc:spChg chg="add mod">
          <ac:chgData name="Annette Ysland Ludvigsen" userId="5cc2156a-4192-4fe6-8372-bcf947567e0f" providerId="ADAL" clId="{83C5B975-F26D-414E-9131-DF85FD8BC002}" dt="2021-06-21T19:49:59.014" v="5137" actId="1076"/>
          <ac:spMkLst>
            <pc:docMk/>
            <pc:sldMk cId="2263165352" sldId="4142"/>
            <ac:spMk id="14" creationId="{8B4BF652-D2C0-45F9-9889-5B88171EFFAE}"/>
          </ac:spMkLst>
        </pc:spChg>
        <pc:spChg chg="add mod">
          <ac:chgData name="Annette Ysland Ludvigsen" userId="5cc2156a-4192-4fe6-8372-bcf947567e0f" providerId="ADAL" clId="{83C5B975-F26D-414E-9131-DF85FD8BC002}" dt="2021-06-21T19:49:54.165" v="5136" actId="20577"/>
          <ac:spMkLst>
            <pc:docMk/>
            <pc:sldMk cId="2263165352" sldId="4142"/>
            <ac:spMk id="15" creationId="{4BBF1F19-7855-4E16-9CF3-7C9D577C1F6D}"/>
          </ac:spMkLst>
        </pc:spChg>
        <pc:spChg chg="add mod">
          <ac:chgData name="Annette Ysland Ludvigsen" userId="5cc2156a-4192-4fe6-8372-bcf947567e0f" providerId="ADAL" clId="{83C5B975-F26D-414E-9131-DF85FD8BC002}" dt="2021-06-23T06:15:25.522" v="5470" actId="1076"/>
          <ac:spMkLst>
            <pc:docMk/>
            <pc:sldMk cId="2263165352" sldId="4142"/>
            <ac:spMk id="16" creationId="{43137C06-5DE1-4CCF-997A-2D55A4E25BE6}"/>
          </ac:spMkLst>
        </pc:spChg>
        <pc:spChg chg="add mod">
          <ac:chgData name="Annette Ysland Ludvigsen" userId="5cc2156a-4192-4fe6-8372-bcf947567e0f" providerId="ADAL" clId="{83C5B975-F26D-414E-9131-DF85FD8BC002}" dt="2021-06-23T06:15:38.469" v="5471" actId="1076"/>
          <ac:spMkLst>
            <pc:docMk/>
            <pc:sldMk cId="2263165352" sldId="4142"/>
            <ac:spMk id="17" creationId="{9D159A88-305C-4A6F-A222-F04CE6D6C6E6}"/>
          </ac:spMkLst>
        </pc:spChg>
        <pc:spChg chg="add mod">
          <ac:chgData name="Annette Ysland Ludvigsen" userId="5cc2156a-4192-4fe6-8372-bcf947567e0f" providerId="ADAL" clId="{83C5B975-F26D-414E-9131-DF85FD8BC002}" dt="2021-06-21T19:50:24.080" v="5142" actId="1076"/>
          <ac:spMkLst>
            <pc:docMk/>
            <pc:sldMk cId="2263165352" sldId="4142"/>
            <ac:spMk id="18" creationId="{467BCBB2-9C31-4A80-8069-1E44719A6CDF}"/>
          </ac:spMkLst>
        </pc:spChg>
        <pc:spChg chg="add del mod">
          <ac:chgData name="Annette Ysland Ludvigsen" userId="5cc2156a-4192-4fe6-8372-bcf947567e0f" providerId="ADAL" clId="{83C5B975-F26D-414E-9131-DF85FD8BC002}" dt="2021-06-21T19:54:45.842" v="5192" actId="478"/>
          <ac:spMkLst>
            <pc:docMk/>
            <pc:sldMk cId="2263165352" sldId="4142"/>
            <ac:spMk id="19" creationId="{0E5778CA-35CD-4E11-8E39-913B86BAFB34}"/>
          </ac:spMkLst>
        </pc:spChg>
        <pc:spChg chg="add mod">
          <ac:chgData name="Annette Ysland Ludvigsen" userId="5cc2156a-4192-4fe6-8372-bcf947567e0f" providerId="ADAL" clId="{83C5B975-F26D-414E-9131-DF85FD8BC002}" dt="2021-06-21T19:50:42.852" v="5146" actId="1076"/>
          <ac:spMkLst>
            <pc:docMk/>
            <pc:sldMk cId="2263165352" sldId="4142"/>
            <ac:spMk id="20" creationId="{05270E28-8D0A-4389-B7AC-EA65099D7FF5}"/>
          </ac:spMkLst>
        </pc:spChg>
        <pc:spChg chg="add mod">
          <ac:chgData name="Annette Ysland Ludvigsen" userId="5cc2156a-4192-4fe6-8372-bcf947567e0f" providerId="ADAL" clId="{83C5B975-F26D-414E-9131-DF85FD8BC002}" dt="2021-06-21T19:54:54.649" v="5194" actId="1076"/>
          <ac:spMkLst>
            <pc:docMk/>
            <pc:sldMk cId="2263165352" sldId="4142"/>
            <ac:spMk id="22" creationId="{A2424A34-4BB4-47F7-A314-60B4C26D0670}"/>
          </ac:spMkLst>
        </pc:spChg>
        <pc:picChg chg="add mod ord">
          <ac:chgData name="Annette Ysland Ludvigsen" userId="5cc2156a-4192-4fe6-8372-bcf947567e0f" providerId="ADAL" clId="{83C5B975-F26D-414E-9131-DF85FD8BC002}" dt="2021-06-21T19:42:49.373" v="4925" actId="14100"/>
          <ac:picMkLst>
            <pc:docMk/>
            <pc:sldMk cId="2263165352" sldId="4142"/>
            <ac:picMk id="3" creationId="{1B9CC845-3646-419A-88FA-85FDF9889DD4}"/>
          </ac:picMkLst>
        </pc:picChg>
        <pc:picChg chg="add mod">
          <ac:chgData name="Annette Ysland Ludvigsen" userId="5cc2156a-4192-4fe6-8372-bcf947567e0f" providerId="ADAL" clId="{83C5B975-F26D-414E-9131-DF85FD8BC002}" dt="2021-06-21T19:49:08.478" v="5117" actId="1076"/>
          <ac:picMkLst>
            <pc:docMk/>
            <pc:sldMk cId="2263165352" sldId="4142"/>
            <ac:picMk id="4" creationId="{BF982EE1-100E-4F78-9929-7A5D7BEE5480}"/>
          </ac:picMkLst>
        </pc:picChg>
        <pc:picChg chg="add mod">
          <ac:chgData name="Annette Ysland Ludvigsen" userId="5cc2156a-4192-4fe6-8372-bcf947567e0f" providerId="ADAL" clId="{83C5B975-F26D-414E-9131-DF85FD8BC002}" dt="2021-06-23T06:15:22.434" v="5469" actId="1076"/>
          <ac:picMkLst>
            <pc:docMk/>
            <pc:sldMk cId="2263165352" sldId="4142"/>
            <ac:picMk id="5" creationId="{38264E06-71CC-4CD9-9842-7B8A640CF204}"/>
          </ac:picMkLst>
        </pc:picChg>
        <pc:picChg chg="add del mod modCrop">
          <ac:chgData name="Annette Ysland Ludvigsen" userId="5cc2156a-4192-4fe6-8372-bcf947567e0f" providerId="ADAL" clId="{83C5B975-F26D-414E-9131-DF85FD8BC002}" dt="2021-06-21T19:54:40.809" v="5190" actId="478"/>
          <ac:picMkLst>
            <pc:docMk/>
            <pc:sldMk cId="2263165352" sldId="4142"/>
            <ac:picMk id="6" creationId="{65E650B8-35C3-4C15-A2FC-2810A8529EB9}"/>
          </ac:picMkLst>
        </pc:picChg>
        <pc:picChg chg="add mod">
          <ac:chgData name="Annette Ysland Ludvigsen" userId="5cc2156a-4192-4fe6-8372-bcf947567e0f" providerId="ADAL" clId="{83C5B975-F26D-414E-9131-DF85FD8BC002}" dt="2021-06-21T19:49:12.938" v="5119" actId="1076"/>
          <ac:picMkLst>
            <pc:docMk/>
            <pc:sldMk cId="2263165352" sldId="4142"/>
            <ac:picMk id="7" creationId="{5C42FBB8-AD09-4B8C-A65E-747DB5FB3EF5}"/>
          </ac:picMkLst>
        </pc:picChg>
        <pc:picChg chg="add mod">
          <ac:chgData name="Annette Ysland Ludvigsen" userId="5cc2156a-4192-4fe6-8372-bcf947567e0f" providerId="ADAL" clId="{83C5B975-F26D-414E-9131-DF85FD8BC002}" dt="2021-06-21T19:54:50.054" v="5193" actId="1076"/>
          <ac:picMkLst>
            <pc:docMk/>
            <pc:sldMk cId="2263165352" sldId="4142"/>
            <ac:picMk id="21" creationId="{292E64BF-81D7-4D3F-A56C-5B65B5C1B980}"/>
          </ac:picMkLst>
        </pc:picChg>
      </pc:sldChg>
    </pc:docChg>
  </pc:docChgLst>
  <pc:docChgLst>
    <pc:chgData name="Terje Ruud" userId="80210fc6-dbb7-49cc-ba3b-9524c1a7b209" providerId="ADAL" clId="{B40A8BD7-DED4-4923-9165-C024D2F53CC0}"/>
    <pc:docChg chg="undo custSel modSld">
      <pc:chgData name="Terje Ruud" userId="80210fc6-dbb7-49cc-ba3b-9524c1a7b209" providerId="ADAL" clId="{B40A8BD7-DED4-4923-9165-C024D2F53CC0}" dt="2021-06-20T09:51:26.320" v="1" actId="478"/>
      <pc:docMkLst>
        <pc:docMk/>
      </pc:docMkLst>
      <pc:sldChg chg="addSp delSp mod">
        <pc:chgData name="Terje Ruud" userId="80210fc6-dbb7-49cc-ba3b-9524c1a7b209" providerId="ADAL" clId="{B40A8BD7-DED4-4923-9165-C024D2F53CC0}" dt="2021-06-20T09:51:26.320" v="1" actId="478"/>
        <pc:sldMkLst>
          <pc:docMk/>
          <pc:sldMk cId="1246628772" sldId="256"/>
        </pc:sldMkLst>
        <pc:picChg chg="add del">
          <ac:chgData name="Terje Ruud" userId="80210fc6-dbb7-49cc-ba3b-9524c1a7b209" providerId="ADAL" clId="{B40A8BD7-DED4-4923-9165-C024D2F53CC0}" dt="2021-06-20T09:51:26.320" v="1" actId="478"/>
          <ac:picMkLst>
            <pc:docMk/>
            <pc:sldMk cId="1246628772" sldId="256"/>
            <ac:picMk id="4" creationId="{BAAD8A63-2146-4574-8DC1-FA6C557EA04E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B0F5E0-841E-4070-A1BB-A254B124F66C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87201BB1-395D-4B1F-88E0-55E6FBBBDD99}">
      <dgm:prSet phldrT="[Tekst]"/>
      <dgm:spPr/>
      <dgm:t>
        <a:bodyPr/>
        <a:lstStyle/>
        <a:p>
          <a:r>
            <a:rPr lang="nb-NO"/>
            <a:t>RD  Driftsaktivitet</a:t>
          </a:r>
        </a:p>
      </dgm:t>
    </dgm:pt>
    <dgm:pt modelId="{CBBA80A2-1456-4DE9-A48B-C3CC12138D69}" type="parTrans" cxnId="{ABA24404-EE35-406B-B784-D9C8FE1412ED}">
      <dgm:prSet/>
      <dgm:spPr/>
      <dgm:t>
        <a:bodyPr/>
        <a:lstStyle/>
        <a:p>
          <a:endParaRPr lang="nb-NO"/>
        </a:p>
      </dgm:t>
    </dgm:pt>
    <dgm:pt modelId="{E9DF15E5-06BC-4E9C-B315-17F64B41459A}" type="sibTrans" cxnId="{ABA24404-EE35-406B-B784-D9C8FE1412ED}">
      <dgm:prSet/>
      <dgm:spPr/>
      <dgm:t>
        <a:bodyPr/>
        <a:lstStyle/>
        <a:p>
          <a:endParaRPr lang="nb-NO"/>
        </a:p>
      </dgm:t>
    </dgm:pt>
    <dgm:pt modelId="{818CDE2F-78B3-4E35-8A8F-89A46015A7B2}">
      <dgm:prSet phldrT="[Tekst]"/>
      <dgm:spPr/>
      <dgm:t>
        <a:bodyPr/>
        <a:lstStyle/>
        <a:p>
          <a:r>
            <a:rPr lang="nb-NO" b="0" i="0" u="none" strike="noStrike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>
            <a:solidFill>
              <a:schemeClr val="bg1"/>
            </a:solidFill>
          </a:endParaRPr>
        </a:p>
      </dgm:t>
    </dgm:pt>
    <dgm:pt modelId="{7B5F8C26-E31E-4D72-AE35-37447C1D148B}" type="parTrans" cxnId="{23970E59-CE9B-4907-937F-0581FE51B139}">
      <dgm:prSet/>
      <dgm:spPr/>
      <dgm:t>
        <a:bodyPr/>
        <a:lstStyle/>
        <a:p>
          <a:endParaRPr lang="nb-NO"/>
        </a:p>
      </dgm:t>
    </dgm:pt>
    <dgm:pt modelId="{04E98F9C-8223-454E-A32B-009E0B784823}" type="sibTrans" cxnId="{23970E59-CE9B-4907-937F-0581FE51B139}">
      <dgm:prSet/>
      <dgm:spPr/>
      <dgm:t>
        <a:bodyPr/>
        <a:lstStyle/>
        <a:p>
          <a:endParaRPr lang="nb-NO"/>
        </a:p>
      </dgm:t>
    </dgm:pt>
    <dgm:pt modelId="{85950EC1-3C3E-43B9-B663-E5AC288919B6}">
      <dgm:prSet phldrT="[Tekst]"/>
      <dgm:spPr/>
      <dgm:t>
        <a:bodyPr/>
        <a:lstStyle/>
        <a:p>
          <a:r>
            <a:rPr lang="nb-NO"/>
            <a:t>Professor A</a:t>
          </a:r>
        </a:p>
      </dgm:t>
    </dgm:pt>
    <dgm:pt modelId="{2394EBD1-8B48-4F2E-8F7D-901794B15AC8}" type="parTrans" cxnId="{C7BAA11C-1D62-4A89-B106-958D062DE690}">
      <dgm:prSet/>
      <dgm:spPr/>
      <dgm:t>
        <a:bodyPr/>
        <a:lstStyle/>
        <a:p>
          <a:endParaRPr lang="nb-NO"/>
        </a:p>
      </dgm:t>
    </dgm:pt>
    <dgm:pt modelId="{5F900CEC-9A93-4D43-90FA-468A0AE8C1DD}" type="sibTrans" cxnId="{C7BAA11C-1D62-4A89-B106-958D062DE690}">
      <dgm:prSet/>
      <dgm:spPr/>
      <dgm:t>
        <a:bodyPr/>
        <a:lstStyle/>
        <a:p>
          <a:endParaRPr lang="nb-NO"/>
        </a:p>
      </dgm:t>
    </dgm:pt>
    <dgm:pt modelId="{D1F13673-5735-403D-B976-6869727516AF}">
      <dgm:prSet phldrT="[Tekst]"/>
      <dgm:spPr/>
      <dgm:t>
        <a:bodyPr/>
        <a:lstStyle/>
        <a:p>
          <a:r>
            <a:rPr lang="nb-NO"/>
            <a:t>Professor B</a:t>
          </a:r>
        </a:p>
      </dgm:t>
    </dgm:pt>
    <dgm:pt modelId="{79459FA9-BA5A-4F84-9364-CC47AED5F552}" type="parTrans" cxnId="{0665EBA4-0969-4877-B6A1-9523C67D3349}">
      <dgm:prSet/>
      <dgm:spPr/>
      <dgm:t>
        <a:bodyPr/>
        <a:lstStyle/>
        <a:p>
          <a:endParaRPr lang="nb-NO"/>
        </a:p>
      </dgm:t>
    </dgm:pt>
    <dgm:pt modelId="{836D4AF3-5A55-4ECF-B301-D06A01FD1C65}" type="sibTrans" cxnId="{0665EBA4-0969-4877-B6A1-9523C67D3349}">
      <dgm:prSet/>
      <dgm:spPr/>
      <dgm:t>
        <a:bodyPr/>
        <a:lstStyle/>
        <a:p>
          <a:endParaRPr lang="nb-NO"/>
        </a:p>
      </dgm:t>
    </dgm:pt>
    <dgm:pt modelId="{8BCC8DEB-581E-4BB6-87B6-05942376BBDD}">
      <dgm:prSet phldrT="[Tekst]"/>
      <dgm:spPr/>
      <dgm:t>
        <a:bodyPr/>
        <a:lstStyle/>
        <a:p>
          <a:r>
            <a:rPr lang="nb-NO"/>
            <a:t>Investering infrastruktur</a:t>
          </a:r>
        </a:p>
      </dgm:t>
    </dgm:pt>
    <dgm:pt modelId="{6F3263C0-FAE1-4C0A-B0B1-83D3FC18EB98}" type="parTrans" cxnId="{1729CB85-9549-4AF4-9AC9-8024A7A573B6}">
      <dgm:prSet/>
      <dgm:spPr/>
      <dgm:t>
        <a:bodyPr/>
        <a:lstStyle/>
        <a:p>
          <a:endParaRPr lang="nb-NO"/>
        </a:p>
      </dgm:t>
    </dgm:pt>
    <dgm:pt modelId="{A31A9101-1166-4D5C-A987-21B2F8C5A1BD}" type="sibTrans" cxnId="{1729CB85-9549-4AF4-9AC9-8024A7A573B6}">
      <dgm:prSet/>
      <dgm:spPr/>
      <dgm:t>
        <a:bodyPr/>
        <a:lstStyle/>
        <a:p>
          <a:endParaRPr lang="nb-NO"/>
        </a:p>
      </dgm:t>
    </dgm:pt>
    <dgm:pt modelId="{F6022BBA-A05A-42BF-B6CC-F90A651D3EF4}">
      <dgm:prSet phldrT="[Tekst]"/>
      <dgm:spPr/>
      <dgm:t>
        <a:bodyPr/>
        <a:lstStyle/>
        <a:p>
          <a:r>
            <a:rPr lang="nb-NO"/>
            <a:t>Instrument </a:t>
          </a:r>
          <a:r>
            <a:rPr lang="nb-NO" err="1"/>
            <a:t>X</a:t>
          </a:r>
          <a:endParaRPr lang="nb-NO"/>
        </a:p>
      </dgm:t>
    </dgm:pt>
    <dgm:pt modelId="{231A843B-5BBE-4240-85FF-4AC266C772AB}" type="parTrans" cxnId="{30389642-448A-4068-9455-49CF9F0F9ECF}">
      <dgm:prSet/>
      <dgm:spPr/>
      <dgm:t>
        <a:bodyPr/>
        <a:lstStyle/>
        <a:p>
          <a:endParaRPr lang="nb-NO"/>
        </a:p>
      </dgm:t>
    </dgm:pt>
    <dgm:pt modelId="{BE40F9BE-92AE-4D82-B453-A014DB7B2715}" type="sibTrans" cxnId="{30389642-448A-4068-9455-49CF9F0F9ECF}">
      <dgm:prSet/>
      <dgm:spPr/>
      <dgm:t>
        <a:bodyPr/>
        <a:lstStyle/>
        <a:p>
          <a:endParaRPr lang="nb-NO"/>
        </a:p>
      </dgm:t>
    </dgm:pt>
    <dgm:pt modelId="{BFD9E5C9-B801-4D4C-8BFE-CBB400BB9EF0}">
      <dgm:prSet phldrT="[Tekst]" custT="1"/>
      <dgm:spPr/>
      <dgm:t>
        <a:bodyPr/>
        <a:lstStyle/>
        <a:p>
          <a:r>
            <a:rPr lang="nb-NO" sz="2000"/>
            <a:t>Aktivitets-type</a:t>
          </a:r>
        </a:p>
      </dgm:t>
    </dgm:pt>
    <dgm:pt modelId="{099D564D-7511-42EA-9D94-320727F4EDD9}" type="parTrans" cxnId="{8DA5A816-23A3-4309-BE9A-1BA0114C6259}">
      <dgm:prSet/>
      <dgm:spPr/>
      <dgm:t>
        <a:bodyPr/>
        <a:lstStyle/>
        <a:p>
          <a:endParaRPr lang="nb-NO"/>
        </a:p>
      </dgm:t>
    </dgm:pt>
    <dgm:pt modelId="{FC620551-341B-49C8-AA26-615A4857D1BE}" type="sibTrans" cxnId="{8DA5A816-23A3-4309-BE9A-1BA0114C6259}">
      <dgm:prSet/>
      <dgm:spPr/>
      <dgm:t>
        <a:bodyPr/>
        <a:lstStyle/>
        <a:p>
          <a:endParaRPr lang="nb-NO"/>
        </a:p>
      </dgm:t>
    </dgm:pt>
    <dgm:pt modelId="{A222EA61-15BD-4D2F-88CD-07864F586B23}">
      <dgm:prSet phldrT="[Tekst]" custT="1"/>
      <dgm:spPr/>
      <dgm:t>
        <a:bodyPr/>
        <a:lstStyle/>
        <a:p>
          <a:r>
            <a:rPr lang="nb-NO" sz="2000"/>
            <a:t>Aktivitet</a:t>
          </a:r>
          <a:endParaRPr lang="nb-NO" sz="2500"/>
        </a:p>
      </dgm:t>
    </dgm:pt>
    <dgm:pt modelId="{58B9BBCF-7A9C-4FD2-9E9C-98EFA48378B7}" type="parTrans" cxnId="{4CFE01D5-FF21-48F4-9227-78AA58D65CE7}">
      <dgm:prSet/>
      <dgm:spPr/>
      <dgm:t>
        <a:bodyPr/>
        <a:lstStyle/>
        <a:p>
          <a:endParaRPr lang="nb-NO"/>
        </a:p>
      </dgm:t>
    </dgm:pt>
    <dgm:pt modelId="{2CD13829-3DAC-4CC9-9737-B472831E82BF}" type="sibTrans" cxnId="{4CFE01D5-FF21-48F4-9227-78AA58D65CE7}">
      <dgm:prSet/>
      <dgm:spPr/>
      <dgm:t>
        <a:bodyPr/>
        <a:lstStyle/>
        <a:p>
          <a:endParaRPr lang="nb-NO"/>
        </a:p>
      </dgm:t>
    </dgm:pt>
    <dgm:pt modelId="{957E98B2-B978-4E01-B193-5ADF95B16D6B}">
      <dgm:prSet phldrT="[Tekst]" custT="1"/>
      <dgm:spPr/>
      <dgm:t>
        <a:bodyPr/>
        <a:lstStyle/>
        <a:p>
          <a:r>
            <a:rPr lang="nb-NO" sz="2000"/>
            <a:t>Del-prosjekt</a:t>
          </a:r>
          <a:endParaRPr lang="nb-NO" sz="2500"/>
        </a:p>
      </dgm:t>
    </dgm:pt>
    <dgm:pt modelId="{79FF90AC-15B2-4B3E-A700-C70A295E5F80}" type="parTrans" cxnId="{1D992BF4-2294-43ED-83C8-6985507BC222}">
      <dgm:prSet/>
      <dgm:spPr/>
      <dgm:t>
        <a:bodyPr/>
        <a:lstStyle/>
        <a:p>
          <a:endParaRPr lang="nb-NO"/>
        </a:p>
      </dgm:t>
    </dgm:pt>
    <dgm:pt modelId="{813B2701-47BA-4C17-9230-B5208A2AC5A7}" type="sibTrans" cxnId="{1D992BF4-2294-43ED-83C8-6985507BC222}">
      <dgm:prSet/>
      <dgm:spPr/>
      <dgm:t>
        <a:bodyPr/>
        <a:lstStyle/>
        <a:p>
          <a:endParaRPr lang="nb-NO"/>
        </a:p>
      </dgm:t>
    </dgm:pt>
    <dgm:pt modelId="{F46B3D9C-77BD-4806-B669-210044CFB7AA}">
      <dgm:prSet phldrT="[Tekst]"/>
      <dgm:spPr/>
      <dgm:t>
        <a:bodyPr/>
        <a:lstStyle/>
        <a:p>
          <a:r>
            <a:rPr lang="nb-NO"/>
            <a:t>Instrument Y</a:t>
          </a:r>
        </a:p>
      </dgm:t>
    </dgm:pt>
    <dgm:pt modelId="{2C2F6CE0-04BD-4FA8-94B8-5D249D51ABF8}" type="parTrans" cxnId="{42F2785D-6B6C-4FF8-B405-C0A5E729EF89}">
      <dgm:prSet/>
      <dgm:spPr/>
      <dgm:t>
        <a:bodyPr/>
        <a:lstStyle/>
        <a:p>
          <a:endParaRPr lang="nb-NO"/>
        </a:p>
      </dgm:t>
    </dgm:pt>
    <dgm:pt modelId="{6EB71436-5A87-4282-B60D-248019120C6E}" type="sibTrans" cxnId="{42F2785D-6B6C-4FF8-B405-C0A5E729EF89}">
      <dgm:prSet/>
      <dgm:spPr/>
      <dgm:t>
        <a:bodyPr/>
        <a:lstStyle/>
        <a:p>
          <a:endParaRPr lang="nb-NO"/>
        </a:p>
      </dgm:t>
    </dgm:pt>
    <dgm:pt modelId="{8D58C0C5-60A4-454D-A7C7-6670E675C8DA}" type="pres">
      <dgm:prSet presAssocID="{BCB0F5E0-841E-4070-A1BB-A254B124F66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782F5A9B-6D74-4C44-A0AB-D64B523B846F}" type="pres">
      <dgm:prSet presAssocID="{BCB0F5E0-841E-4070-A1BB-A254B124F66C}" presName="hierFlow" presStyleCnt="0"/>
      <dgm:spPr/>
    </dgm:pt>
    <dgm:pt modelId="{75D2F864-9FDA-49F6-BF26-534372737C90}" type="pres">
      <dgm:prSet presAssocID="{BCB0F5E0-841E-4070-A1BB-A254B124F66C}" presName="firstBuf" presStyleCnt="0"/>
      <dgm:spPr/>
    </dgm:pt>
    <dgm:pt modelId="{58B47886-01D9-4BD3-8F33-6DD1DC14CC64}" type="pres">
      <dgm:prSet presAssocID="{BCB0F5E0-841E-4070-A1BB-A254B124F66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3187D92-366E-45D7-8EB8-5EB012ECF93D}" type="pres">
      <dgm:prSet presAssocID="{87201BB1-395D-4B1F-88E0-55E6FBBBDD99}" presName="Name17" presStyleCnt="0"/>
      <dgm:spPr/>
    </dgm:pt>
    <dgm:pt modelId="{C3192294-998D-4925-9864-0F5493BE1276}" type="pres">
      <dgm:prSet presAssocID="{87201BB1-395D-4B1F-88E0-55E6FBBBDD99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A674F10B-F594-46A0-9305-275AB217B08D}" type="pres">
      <dgm:prSet presAssocID="{87201BB1-395D-4B1F-88E0-55E6FBBBDD99}" presName="hierChild2" presStyleCnt="0"/>
      <dgm:spPr/>
    </dgm:pt>
    <dgm:pt modelId="{4F6071C6-F078-47E7-8D9C-C4776B9A3707}" type="pres">
      <dgm:prSet presAssocID="{7B5F8C26-E31E-4D72-AE35-37447C1D148B}" presName="Name25" presStyleLbl="parChTrans1D2" presStyleIdx="0" presStyleCnt="2"/>
      <dgm:spPr/>
      <dgm:t>
        <a:bodyPr/>
        <a:lstStyle/>
        <a:p>
          <a:endParaRPr lang="nb-NO"/>
        </a:p>
      </dgm:t>
    </dgm:pt>
    <dgm:pt modelId="{516904A2-CF16-430E-ABE6-83ECEC757F8B}" type="pres">
      <dgm:prSet presAssocID="{7B5F8C26-E31E-4D72-AE35-37447C1D148B}" presName="connTx" presStyleLbl="parChTrans1D2" presStyleIdx="0" presStyleCnt="2"/>
      <dgm:spPr/>
      <dgm:t>
        <a:bodyPr/>
        <a:lstStyle/>
        <a:p>
          <a:endParaRPr lang="nb-NO"/>
        </a:p>
      </dgm:t>
    </dgm:pt>
    <dgm:pt modelId="{5B4F0BE9-8432-4710-84A1-FEFBA1CE641B}" type="pres">
      <dgm:prSet presAssocID="{818CDE2F-78B3-4E35-8A8F-89A46015A7B2}" presName="Name30" presStyleCnt="0"/>
      <dgm:spPr/>
    </dgm:pt>
    <dgm:pt modelId="{49D2DD1B-CA1F-4F15-ADAB-D4B4C0956D97}" type="pres">
      <dgm:prSet presAssocID="{818CDE2F-78B3-4E35-8A8F-89A46015A7B2}" presName="level2Shape" presStyleLbl="node2" presStyleIdx="0" presStyleCnt="2"/>
      <dgm:spPr/>
      <dgm:t>
        <a:bodyPr/>
        <a:lstStyle/>
        <a:p>
          <a:endParaRPr lang="nb-NO"/>
        </a:p>
      </dgm:t>
    </dgm:pt>
    <dgm:pt modelId="{6A48FD4C-6980-4131-850D-52075E410DDB}" type="pres">
      <dgm:prSet presAssocID="{818CDE2F-78B3-4E35-8A8F-89A46015A7B2}" presName="hierChild3" presStyleCnt="0"/>
      <dgm:spPr/>
    </dgm:pt>
    <dgm:pt modelId="{2CB91D52-C587-411B-BD9B-5F90512EC0A5}" type="pres">
      <dgm:prSet presAssocID="{2394EBD1-8B48-4F2E-8F7D-901794B15AC8}" presName="Name25" presStyleLbl="parChTrans1D3" presStyleIdx="0" presStyleCnt="4"/>
      <dgm:spPr/>
      <dgm:t>
        <a:bodyPr/>
        <a:lstStyle/>
        <a:p>
          <a:endParaRPr lang="nb-NO"/>
        </a:p>
      </dgm:t>
    </dgm:pt>
    <dgm:pt modelId="{7912AC46-C8D8-4967-BB7F-28D583FFA1B3}" type="pres">
      <dgm:prSet presAssocID="{2394EBD1-8B48-4F2E-8F7D-901794B15AC8}" presName="connTx" presStyleLbl="parChTrans1D3" presStyleIdx="0" presStyleCnt="4"/>
      <dgm:spPr/>
      <dgm:t>
        <a:bodyPr/>
        <a:lstStyle/>
        <a:p>
          <a:endParaRPr lang="nb-NO"/>
        </a:p>
      </dgm:t>
    </dgm:pt>
    <dgm:pt modelId="{977A726D-2568-4420-8339-D7A731B7557D}" type="pres">
      <dgm:prSet presAssocID="{85950EC1-3C3E-43B9-B663-E5AC288919B6}" presName="Name30" presStyleCnt="0"/>
      <dgm:spPr/>
    </dgm:pt>
    <dgm:pt modelId="{0FA3EC30-89E8-470B-894E-5CCFD268F390}" type="pres">
      <dgm:prSet presAssocID="{85950EC1-3C3E-43B9-B663-E5AC288919B6}" presName="level2Shape" presStyleLbl="node3" presStyleIdx="0" presStyleCnt="4"/>
      <dgm:spPr/>
      <dgm:t>
        <a:bodyPr/>
        <a:lstStyle/>
        <a:p>
          <a:endParaRPr lang="nb-NO"/>
        </a:p>
      </dgm:t>
    </dgm:pt>
    <dgm:pt modelId="{5EF79DEB-3821-4CC3-B245-6A3576F08D83}" type="pres">
      <dgm:prSet presAssocID="{85950EC1-3C3E-43B9-B663-E5AC288919B6}" presName="hierChild3" presStyleCnt="0"/>
      <dgm:spPr/>
    </dgm:pt>
    <dgm:pt modelId="{F96D3184-A955-46BA-A339-C7B85E4457D6}" type="pres">
      <dgm:prSet presAssocID="{79459FA9-BA5A-4F84-9364-CC47AED5F552}" presName="Name25" presStyleLbl="parChTrans1D3" presStyleIdx="1" presStyleCnt="4"/>
      <dgm:spPr/>
      <dgm:t>
        <a:bodyPr/>
        <a:lstStyle/>
        <a:p>
          <a:endParaRPr lang="nb-NO"/>
        </a:p>
      </dgm:t>
    </dgm:pt>
    <dgm:pt modelId="{D39ABCEE-499E-4690-82D7-1621F6B28DA4}" type="pres">
      <dgm:prSet presAssocID="{79459FA9-BA5A-4F84-9364-CC47AED5F552}" presName="connTx" presStyleLbl="parChTrans1D3" presStyleIdx="1" presStyleCnt="4"/>
      <dgm:spPr/>
      <dgm:t>
        <a:bodyPr/>
        <a:lstStyle/>
        <a:p>
          <a:endParaRPr lang="nb-NO"/>
        </a:p>
      </dgm:t>
    </dgm:pt>
    <dgm:pt modelId="{3A7C5355-9489-4CE4-91B4-CFC858D77680}" type="pres">
      <dgm:prSet presAssocID="{D1F13673-5735-403D-B976-6869727516AF}" presName="Name30" presStyleCnt="0"/>
      <dgm:spPr/>
    </dgm:pt>
    <dgm:pt modelId="{2F44E76B-3C5E-49FF-AE6D-361C15F6FCCC}" type="pres">
      <dgm:prSet presAssocID="{D1F13673-5735-403D-B976-6869727516AF}" presName="level2Shape" presStyleLbl="node3" presStyleIdx="1" presStyleCnt="4"/>
      <dgm:spPr/>
      <dgm:t>
        <a:bodyPr/>
        <a:lstStyle/>
        <a:p>
          <a:endParaRPr lang="nb-NO"/>
        </a:p>
      </dgm:t>
    </dgm:pt>
    <dgm:pt modelId="{218F3F60-D435-4FE2-9148-9DB1B220A4DA}" type="pres">
      <dgm:prSet presAssocID="{D1F13673-5735-403D-B976-6869727516AF}" presName="hierChild3" presStyleCnt="0"/>
      <dgm:spPr/>
    </dgm:pt>
    <dgm:pt modelId="{D952A7BA-142D-442A-B0EC-EE0F5C3A2EA7}" type="pres">
      <dgm:prSet presAssocID="{6F3263C0-FAE1-4C0A-B0B1-83D3FC18EB98}" presName="Name25" presStyleLbl="parChTrans1D2" presStyleIdx="1" presStyleCnt="2"/>
      <dgm:spPr/>
      <dgm:t>
        <a:bodyPr/>
        <a:lstStyle/>
        <a:p>
          <a:endParaRPr lang="nb-NO"/>
        </a:p>
      </dgm:t>
    </dgm:pt>
    <dgm:pt modelId="{B32E5212-695D-4BB0-9621-A117967C9F0E}" type="pres">
      <dgm:prSet presAssocID="{6F3263C0-FAE1-4C0A-B0B1-83D3FC18EB98}" presName="connTx" presStyleLbl="parChTrans1D2" presStyleIdx="1" presStyleCnt="2"/>
      <dgm:spPr/>
      <dgm:t>
        <a:bodyPr/>
        <a:lstStyle/>
        <a:p>
          <a:endParaRPr lang="nb-NO"/>
        </a:p>
      </dgm:t>
    </dgm:pt>
    <dgm:pt modelId="{27785523-EE50-45AD-93B3-180D252B7C1A}" type="pres">
      <dgm:prSet presAssocID="{8BCC8DEB-581E-4BB6-87B6-05942376BBDD}" presName="Name30" presStyleCnt="0"/>
      <dgm:spPr/>
    </dgm:pt>
    <dgm:pt modelId="{0A706720-153F-4523-B184-1EF51C7B08F5}" type="pres">
      <dgm:prSet presAssocID="{8BCC8DEB-581E-4BB6-87B6-05942376BBDD}" presName="level2Shape" presStyleLbl="node2" presStyleIdx="1" presStyleCnt="2"/>
      <dgm:spPr/>
      <dgm:t>
        <a:bodyPr/>
        <a:lstStyle/>
        <a:p>
          <a:endParaRPr lang="nb-NO"/>
        </a:p>
      </dgm:t>
    </dgm:pt>
    <dgm:pt modelId="{D3A16127-CE30-4B21-BDFA-4874600D314F}" type="pres">
      <dgm:prSet presAssocID="{8BCC8DEB-581E-4BB6-87B6-05942376BBDD}" presName="hierChild3" presStyleCnt="0"/>
      <dgm:spPr/>
    </dgm:pt>
    <dgm:pt modelId="{0B689192-EC09-4763-9F85-152FABC18087}" type="pres">
      <dgm:prSet presAssocID="{231A843B-5BBE-4240-85FF-4AC266C772AB}" presName="Name25" presStyleLbl="parChTrans1D3" presStyleIdx="2" presStyleCnt="4"/>
      <dgm:spPr/>
      <dgm:t>
        <a:bodyPr/>
        <a:lstStyle/>
        <a:p>
          <a:endParaRPr lang="nb-NO"/>
        </a:p>
      </dgm:t>
    </dgm:pt>
    <dgm:pt modelId="{A410D268-4F77-48C2-89D6-F2C12CD6E255}" type="pres">
      <dgm:prSet presAssocID="{231A843B-5BBE-4240-85FF-4AC266C772AB}" presName="connTx" presStyleLbl="parChTrans1D3" presStyleIdx="2" presStyleCnt="4"/>
      <dgm:spPr/>
      <dgm:t>
        <a:bodyPr/>
        <a:lstStyle/>
        <a:p>
          <a:endParaRPr lang="nb-NO"/>
        </a:p>
      </dgm:t>
    </dgm:pt>
    <dgm:pt modelId="{8E65DA4D-C0DA-4EBF-873C-A297BB0ED0FF}" type="pres">
      <dgm:prSet presAssocID="{F6022BBA-A05A-42BF-B6CC-F90A651D3EF4}" presName="Name30" presStyleCnt="0"/>
      <dgm:spPr/>
    </dgm:pt>
    <dgm:pt modelId="{B34CC6B2-F808-48C8-8364-330E8A2E707D}" type="pres">
      <dgm:prSet presAssocID="{F6022BBA-A05A-42BF-B6CC-F90A651D3EF4}" presName="level2Shape" presStyleLbl="node3" presStyleIdx="2" presStyleCnt="4"/>
      <dgm:spPr/>
      <dgm:t>
        <a:bodyPr/>
        <a:lstStyle/>
        <a:p>
          <a:endParaRPr lang="nb-NO"/>
        </a:p>
      </dgm:t>
    </dgm:pt>
    <dgm:pt modelId="{5C010158-EFE1-4016-97D3-157DBB9CA008}" type="pres">
      <dgm:prSet presAssocID="{F6022BBA-A05A-42BF-B6CC-F90A651D3EF4}" presName="hierChild3" presStyleCnt="0"/>
      <dgm:spPr/>
    </dgm:pt>
    <dgm:pt modelId="{61C43142-90FB-4BDD-AF70-BB606AE83217}" type="pres">
      <dgm:prSet presAssocID="{2C2F6CE0-04BD-4FA8-94B8-5D249D51ABF8}" presName="Name25" presStyleLbl="parChTrans1D3" presStyleIdx="3" presStyleCnt="4"/>
      <dgm:spPr/>
      <dgm:t>
        <a:bodyPr/>
        <a:lstStyle/>
        <a:p>
          <a:endParaRPr lang="nb-NO"/>
        </a:p>
      </dgm:t>
    </dgm:pt>
    <dgm:pt modelId="{CA758CCB-E034-44C8-84DE-A96F4C3F95D2}" type="pres">
      <dgm:prSet presAssocID="{2C2F6CE0-04BD-4FA8-94B8-5D249D51ABF8}" presName="connTx" presStyleLbl="parChTrans1D3" presStyleIdx="3" presStyleCnt="4"/>
      <dgm:spPr/>
      <dgm:t>
        <a:bodyPr/>
        <a:lstStyle/>
        <a:p>
          <a:endParaRPr lang="nb-NO"/>
        </a:p>
      </dgm:t>
    </dgm:pt>
    <dgm:pt modelId="{2757B302-3465-48DB-984A-4E33B2818581}" type="pres">
      <dgm:prSet presAssocID="{F46B3D9C-77BD-4806-B669-210044CFB7AA}" presName="Name30" presStyleCnt="0"/>
      <dgm:spPr/>
    </dgm:pt>
    <dgm:pt modelId="{A669329B-D9E2-4CC5-A0CA-FCADDB16A5EA}" type="pres">
      <dgm:prSet presAssocID="{F46B3D9C-77BD-4806-B669-210044CFB7AA}" presName="level2Shape" presStyleLbl="node3" presStyleIdx="3" presStyleCnt="4"/>
      <dgm:spPr/>
      <dgm:t>
        <a:bodyPr/>
        <a:lstStyle/>
        <a:p>
          <a:endParaRPr lang="nb-NO"/>
        </a:p>
      </dgm:t>
    </dgm:pt>
    <dgm:pt modelId="{29420304-CAFA-46D5-AEE6-4F3D8CFBC6CF}" type="pres">
      <dgm:prSet presAssocID="{F46B3D9C-77BD-4806-B669-210044CFB7AA}" presName="hierChild3" presStyleCnt="0"/>
      <dgm:spPr/>
    </dgm:pt>
    <dgm:pt modelId="{9D5B283F-C924-44A4-95BF-1319A2C200FD}" type="pres">
      <dgm:prSet presAssocID="{BCB0F5E0-841E-4070-A1BB-A254B124F66C}" presName="bgShapesFlow" presStyleCnt="0"/>
      <dgm:spPr/>
    </dgm:pt>
    <dgm:pt modelId="{4958F08B-C3B0-4D8C-BF04-8E93D2C3887D}" type="pres">
      <dgm:prSet presAssocID="{BFD9E5C9-B801-4D4C-8BFE-CBB400BB9EF0}" presName="rectComp" presStyleCnt="0"/>
      <dgm:spPr/>
    </dgm:pt>
    <dgm:pt modelId="{9CA81732-F4CE-49F5-ABCC-BC29C9215BD6}" type="pres">
      <dgm:prSet presAssocID="{BFD9E5C9-B801-4D4C-8BFE-CBB400BB9EF0}" presName="bgRect" presStyleLbl="bgShp" presStyleIdx="0" presStyleCnt="3"/>
      <dgm:spPr/>
      <dgm:t>
        <a:bodyPr/>
        <a:lstStyle/>
        <a:p>
          <a:endParaRPr lang="nb-NO"/>
        </a:p>
      </dgm:t>
    </dgm:pt>
    <dgm:pt modelId="{697FD07A-0839-44E6-87A8-DC6E84624732}" type="pres">
      <dgm:prSet presAssocID="{BFD9E5C9-B801-4D4C-8BFE-CBB400BB9EF0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E0E39E4-7415-49AD-803D-22A8D8D60577}" type="pres">
      <dgm:prSet presAssocID="{BFD9E5C9-B801-4D4C-8BFE-CBB400BB9EF0}" presName="spComp" presStyleCnt="0"/>
      <dgm:spPr/>
    </dgm:pt>
    <dgm:pt modelId="{214A256C-DF6C-401F-BA89-F82937365672}" type="pres">
      <dgm:prSet presAssocID="{BFD9E5C9-B801-4D4C-8BFE-CBB400BB9EF0}" presName="hSp" presStyleCnt="0"/>
      <dgm:spPr/>
    </dgm:pt>
    <dgm:pt modelId="{7DD2269D-A0C0-4C0F-A342-B05DB925C874}" type="pres">
      <dgm:prSet presAssocID="{A222EA61-15BD-4D2F-88CD-07864F586B23}" presName="rectComp" presStyleCnt="0"/>
      <dgm:spPr/>
    </dgm:pt>
    <dgm:pt modelId="{31FCEB4A-D007-4636-8AFC-FBF64741107A}" type="pres">
      <dgm:prSet presAssocID="{A222EA61-15BD-4D2F-88CD-07864F586B23}" presName="bgRect" presStyleLbl="bgShp" presStyleIdx="1" presStyleCnt="3"/>
      <dgm:spPr/>
      <dgm:t>
        <a:bodyPr/>
        <a:lstStyle/>
        <a:p>
          <a:endParaRPr lang="nb-NO"/>
        </a:p>
      </dgm:t>
    </dgm:pt>
    <dgm:pt modelId="{0A658FD7-D2BD-4DE3-918C-7A26FC1964BC}" type="pres">
      <dgm:prSet presAssocID="{A222EA61-15BD-4D2F-88CD-07864F586B23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1493F-FC46-4367-BE8B-1C0A592C8DFB}" type="pres">
      <dgm:prSet presAssocID="{A222EA61-15BD-4D2F-88CD-07864F586B23}" presName="spComp" presStyleCnt="0"/>
      <dgm:spPr/>
    </dgm:pt>
    <dgm:pt modelId="{6B51EB0B-C1AD-4B4A-8219-14A3060E84B8}" type="pres">
      <dgm:prSet presAssocID="{A222EA61-15BD-4D2F-88CD-07864F586B23}" presName="hSp" presStyleCnt="0"/>
      <dgm:spPr/>
    </dgm:pt>
    <dgm:pt modelId="{376F853D-9562-4AED-A33E-751679D6134D}" type="pres">
      <dgm:prSet presAssocID="{957E98B2-B978-4E01-B193-5ADF95B16D6B}" presName="rectComp" presStyleCnt="0"/>
      <dgm:spPr/>
    </dgm:pt>
    <dgm:pt modelId="{4197D089-C911-435A-92D4-FC075C87574E}" type="pres">
      <dgm:prSet presAssocID="{957E98B2-B978-4E01-B193-5ADF95B16D6B}" presName="bgRect" presStyleLbl="bgShp" presStyleIdx="2" presStyleCnt="3"/>
      <dgm:spPr/>
      <dgm:t>
        <a:bodyPr/>
        <a:lstStyle/>
        <a:p>
          <a:endParaRPr lang="nb-NO"/>
        </a:p>
      </dgm:t>
    </dgm:pt>
    <dgm:pt modelId="{F0B66C4C-9FC4-4092-921A-143AF7B67B79}" type="pres">
      <dgm:prSet presAssocID="{957E98B2-B978-4E01-B193-5ADF95B16D6B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23EFF87E-B4F4-4405-87B3-7373B82C2CC4}" type="presOf" srcId="{D1F13673-5735-403D-B976-6869727516AF}" destId="{2F44E76B-3C5E-49FF-AE6D-361C15F6FCCC}" srcOrd="0" destOrd="0" presId="urn:microsoft.com/office/officeart/2005/8/layout/hierarchy5"/>
    <dgm:cxn modelId="{4CFE01D5-FF21-48F4-9227-78AA58D65CE7}" srcId="{BCB0F5E0-841E-4070-A1BB-A254B124F66C}" destId="{A222EA61-15BD-4D2F-88CD-07864F586B23}" srcOrd="2" destOrd="0" parTransId="{58B9BBCF-7A9C-4FD2-9E9C-98EFA48378B7}" sibTransId="{2CD13829-3DAC-4CC9-9737-B472831E82BF}"/>
    <dgm:cxn modelId="{23970E59-CE9B-4907-937F-0581FE51B139}" srcId="{87201BB1-395D-4B1F-88E0-55E6FBBBDD99}" destId="{818CDE2F-78B3-4E35-8A8F-89A46015A7B2}" srcOrd="0" destOrd="0" parTransId="{7B5F8C26-E31E-4D72-AE35-37447C1D148B}" sibTransId="{04E98F9C-8223-454E-A32B-009E0B784823}"/>
    <dgm:cxn modelId="{65C700C7-B632-40DB-8544-CB8805FCD28C}" type="presOf" srcId="{BFD9E5C9-B801-4D4C-8BFE-CBB400BB9EF0}" destId="{697FD07A-0839-44E6-87A8-DC6E84624732}" srcOrd="1" destOrd="0" presId="urn:microsoft.com/office/officeart/2005/8/layout/hierarchy5"/>
    <dgm:cxn modelId="{604B3DF2-BCAC-43A9-8589-E075CA271E03}" type="presOf" srcId="{8BCC8DEB-581E-4BB6-87B6-05942376BBDD}" destId="{0A706720-153F-4523-B184-1EF51C7B08F5}" srcOrd="0" destOrd="0" presId="urn:microsoft.com/office/officeart/2005/8/layout/hierarchy5"/>
    <dgm:cxn modelId="{BD55CD4A-0EDA-446F-A3F9-AA10473FC9F2}" type="presOf" srcId="{87201BB1-395D-4B1F-88E0-55E6FBBBDD99}" destId="{C3192294-998D-4925-9864-0F5493BE1276}" srcOrd="0" destOrd="0" presId="urn:microsoft.com/office/officeart/2005/8/layout/hierarchy5"/>
    <dgm:cxn modelId="{D9E06171-F0FE-4427-9822-FDF502CBAED6}" type="presOf" srcId="{79459FA9-BA5A-4F84-9364-CC47AED5F552}" destId="{D39ABCEE-499E-4690-82D7-1621F6B28DA4}" srcOrd="1" destOrd="0" presId="urn:microsoft.com/office/officeart/2005/8/layout/hierarchy5"/>
    <dgm:cxn modelId="{1830B5D7-8592-4A16-95D9-8DF9EDD661F8}" type="presOf" srcId="{6F3263C0-FAE1-4C0A-B0B1-83D3FC18EB98}" destId="{D952A7BA-142D-442A-B0EC-EE0F5C3A2EA7}" srcOrd="0" destOrd="0" presId="urn:microsoft.com/office/officeart/2005/8/layout/hierarchy5"/>
    <dgm:cxn modelId="{7F47CBC5-D3EB-40FE-B599-AE403C13AD2C}" type="presOf" srcId="{BCB0F5E0-841E-4070-A1BB-A254B124F66C}" destId="{8D58C0C5-60A4-454D-A7C7-6670E675C8DA}" srcOrd="0" destOrd="0" presId="urn:microsoft.com/office/officeart/2005/8/layout/hierarchy5"/>
    <dgm:cxn modelId="{2AEB4476-4AF9-4D1C-8A53-8643C268D3C2}" type="presOf" srcId="{818CDE2F-78B3-4E35-8A8F-89A46015A7B2}" destId="{49D2DD1B-CA1F-4F15-ADAB-D4B4C0956D97}" srcOrd="0" destOrd="0" presId="urn:microsoft.com/office/officeart/2005/8/layout/hierarchy5"/>
    <dgm:cxn modelId="{1729CB85-9549-4AF4-9AC9-8024A7A573B6}" srcId="{87201BB1-395D-4B1F-88E0-55E6FBBBDD99}" destId="{8BCC8DEB-581E-4BB6-87B6-05942376BBDD}" srcOrd="1" destOrd="0" parTransId="{6F3263C0-FAE1-4C0A-B0B1-83D3FC18EB98}" sibTransId="{A31A9101-1166-4D5C-A987-21B2F8C5A1BD}"/>
    <dgm:cxn modelId="{3B3E3BBD-2BF3-4CEF-8263-2B507E594723}" type="presOf" srcId="{A222EA61-15BD-4D2F-88CD-07864F586B23}" destId="{31FCEB4A-D007-4636-8AFC-FBF64741107A}" srcOrd="0" destOrd="0" presId="urn:microsoft.com/office/officeart/2005/8/layout/hierarchy5"/>
    <dgm:cxn modelId="{8DA5A816-23A3-4309-BE9A-1BA0114C6259}" srcId="{BCB0F5E0-841E-4070-A1BB-A254B124F66C}" destId="{BFD9E5C9-B801-4D4C-8BFE-CBB400BB9EF0}" srcOrd="1" destOrd="0" parTransId="{099D564D-7511-42EA-9D94-320727F4EDD9}" sibTransId="{FC620551-341B-49C8-AA26-615A4857D1BE}"/>
    <dgm:cxn modelId="{0665EBA4-0969-4877-B6A1-9523C67D3349}" srcId="{818CDE2F-78B3-4E35-8A8F-89A46015A7B2}" destId="{D1F13673-5735-403D-B976-6869727516AF}" srcOrd="1" destOrd="0" parTransId="{79459FA9-BA5A-4F84-9364-CC47AED5F552}" sibTransId="{836D4AF3-5A55-4ECF-B301-D06A01FD1C65}"/>
    <dgm:cxn modelId="{89725586-9F0D-4153-B831-4DB00A8B2A07}" type="presOf" srcId="{2394EBD1-8B48-4F2E-8F7D-901794B15AC8}" destId="{7912AC46-C8D8-4967-BB7F-28D583FFA1B3}" srcOrd="1" destOrd="0" presId="urn:microsoft.com/office/officeart/2005/8/layout/hierarchy5"/>
    <dgm:cxn modelId="{52DA1530-5EC4-4D7E-AA52-52D05DD5E5B8}" type="presOf" srcId="{7B5F8C26-E31E-4D72-AE35-37447C1D148B}" destId="{4F6071C6-F078-47E7-8D9C-C4776B9A3707}" srcOrd="0" destOrd="0" presId="urn:microsoft.com/office/officeart/2005/8/layout/hierarchy5"/>
    <dgm:cxn modelId="{150686EF-9900-4258-AE67-B409637C2EB6}" type="presOf" srcId="{2394EBD1-8B48-4F2E-8F7D-901794B15AC8}" destId="{2CB91D52-C587-411B-BD9B-5F90512EC0A5}" srcOrd="0" destOrd="0" presId="urn:microsoft.com/office/officeart/2005/8/layout/hierarchy5"/>
    <dgm:cxn modelId="{B08ACBF3-866A-4549-AA96-D492399FA428}" type="presOf" srcId="{85950EC1-3C3E-43B9-B663-E5AC288919B6}" destId="{0FA3EC30-89E8-470B-894E-5CCFD268F390}" srcOrd="0" destOrd="0" presId="urn:microsoft.com/office/officeart/2005/8/layout/hierarchy5"/>
    <dgm:cxn modelId="{B9D17632-0EF2-4D7D-A3B9-653196EB4CCA}" type="presOf" srcId="{A222EA61-15BD-4D2F-88CD-07864F586B23}" destId="{0A658FD7-D2BD-4DE3-918C-7A26FC1964BC}" srcOrd="1" destOrd="0" presId="urn:microsoft.com/office/officeart/2005/8/layout/hierarchy5"/>
    <dgm:cxn modelId="{1D992BF4-2294-43ED-83C8-6985507BC222}" srcId="{BCB0F5E0-841E-4070-A1BB-A254B124F66C}" destId="{957E98B2-B978-4E01-B193-5ADF95B16D6B}" srcOrd="3" destOrd="0" parTransId="{79FF90AC-15B2-4B3E-A700-C70A295E5F80}" sibTransId="{813B2701-47BA-4C17-9230-B5208A2AC5A7}"/>
    <dgm:cxn modelId="{30389642-448A-4068-9455-49CF9F0F9ECF}" srcId="{8BCC8DEB-581E-4BB6-87B6-05942376BBDD}" destId="{F6022BBA-A05A-42BF-B6CC-F90A651D3EF4}" srcOrd="0" destOrd="0" parTransId="{231A843B-5BBE-4240-85FF-4AC266C772AB}" sibTransId="{BE40F9BE-92AE-4D82-B453-A014DB7B2715}"/>
    <dgm:cxn modelId="{55ED46CA-2EB0-460F-A1DE-38EBE5F4F950}" type="presOf" srcId="{231A843B-5BBE-4240-85FF-4AC266C772AB}" destId="{0B689192-EC09-4763-9F85-152FABC18087}" srcOrd="0" destOrd="0" presId="urn:microsoft.com/office/officeart/2005/8/layout/hierarchy5"/>
    <dgm:cxn modelId="{53903400-9DE9-4EF3-A1AA-9ECA95623F25}" type="presOf" srcId="{BFD9E5C9-B801-4D4C-8BFE-CBB400BB9EF0}" destId="{9CA81732-F4CE-49F5-ABCC-BC29C9215BD6}" srcOrd="0" destOrd="0" presId="urn:microsoft.com/office/officeart/2005/8/layout/hierarchy5"/>
    <dgm:cxn modelId="{3EC4A499-27DD-4232-A6CC-DA4039A45C8E}" type="presOf" srcId="{2C2F6CE0-04BD-4FA8-94B8-5D249D51ABF8}" destId="{61C43142-90FB-4BDD-AF70-BB606AE83217}" srcOrd="0" destOrd="0" presId="urn:microsoft.com/office/officeart/2005/8/layout/hierarchy5"/>
    <dgm:cxn modelId="{5C8F2B92-565D-486A-8865-3BDFDF21439D}" type="presOf" srcId="{7B5F8C26-E31E-4D72-AE35-37447C1D148B}" destId="{516904A2-CF16-430E-ABE6-83ECEC757F8B}" srcOrd="1" destOrd="0" presId="urn:microsoft.com/office/officeart/2005/8/layout/hierarchy5"/>
    <dgm:cxn modelId="{376F8A5C-3656-43A2-8672-B42D66CFA80F}" type="presOf" srcId="{957E98B2-B978-4E01-B193-5ADF95B16D6B}" destId="{F0B66C4C-9FC4-4092-921A-143AF7B67B79}" srcOrd="1" destOrd="0" presId="urn:microsoft.com/office/officeart/2005/8/layout/hierarchy5"/>
    <dgm:cxn modelId="{D49C16D3-DBA2-4118-947A-1D8D7B1F8D91}" type="presOf" srcId="{2C2F6CE0-04BD-4FA8-94B8-5D249D51ABF8}" destId="{CA758CCB-E034-44C8-84DE-A96F4C3F95D2}" srcOrd="1" destOrd="0" presId="urn:microsoft.com/office/officeart/2005/8/layout/hierarchy5"/>
    <dgm:cxn modelId="{4CEF0F8D-814D-4E26-B2C1-FCAD952017A3}" type="presOf" srcId="{6F3263C0-FAE1-4C0A-B0B1-83D3FC18EB98}" destId="{B32E5212-695D-4BB0-9621-A117967C9F0E}" srcOrd="1" destOrd="0" presId="urn:microsoft.com/office/officeart/2005/8/layout/hierarchy5"/>
    <dgm:cxn modelId="{2A830622-0DC3-4ECB-820A-27F8CCA19B34}" type="presOf" srcId="{79459FA9-BA5A-4F84-9364-CC47AED5F552}" destId="{F96D3184-A955-46BA-A339-C7B85E4457D6}" srcOrd="0" destOrd="0" presId="urn:microsoft.com/office/officeart/2005/8/layout/hierarchy5"/>
    <dgm:cxn modelId="{5321709F-B4CD-49F9-86E5-88EA1D186330}" type="presOf" srcId="{231A843B-5BBE-4240-85FF-4AC266C772AB}" destId="{A410D268-4F77-48C2-89D6-F2C12CD6E255}" srcOrd="1" destOrd="0" presId="urn:microsoft.com/office/officeart/2005/8/layout/hierarchy5"/>
    <dgm:cxn modelId="{88C6CA15-AFC1-430F-988F-A48CB1104DE8}" type="presOf" srcId="{F6022BBA-A05A-42BF-B6CC-F90A651D3EF4}" destId="{B34CC6B2-F808-48C8-8364-330E8A2E707D}" srcOrd="0" destOrd="0" presId="urn:microsoft.com/office/officeart/2005/8/layout/hierarchy5"/>
    <dgm:cxn modelId="{5FC625C7-D8BC-48A2-BE04-A6FED5E9A09A}" type="presOf" srcId="{957E98B2-B978-4E01-B193-5ADF95B16D6B}" destId="{4197D089-C911-435A-92D4-FC075C87574E}" srcOrd="0" destOrd="0" presId="urn:microsoft.com/office/officeart/2005/8/layout/hierarchy5"/>
    <dgm:cxn modelId="{C7BAA11C-1D62-4A89-B106-958D062DE690}" srcId="{818CDE2F-78B3-4E35-8A8F-89A46015A7B2}" destId="{85950EC1-3C3E-43B9-B663-E5AC288919B6}" srcOrd="0" destOrd="0" parTransId="{2394EBD1-8B48-4F2E-8F7D-901794B15AC8}" sibTransId="{5F900CEC-9A93-4D43-90FA-468A0AE8C1DD}"/>
    <dgm:cxn modelId="{42F2785D-6B6C-4FF8-B405-C0A5E729EF89}" srcId="{8BCC8DEB-581E-4BB6-87B6-05942376BBDD}" destId="{F46B3D9C-77BD-4806-B669-210044CFB7AA}" srcOrd="1" destOrd="0" parTransId="{2C2F6CE0-04BD-4FA8-94B8-5D249D51ABF8}" sibTransId="{6EB71436-5A87-4282-B60D-248019120C6E}"/>
    <dgm:cxn modelId="{ABA24404-EE35-406B-B784-D9C8FE1412ED}" srcId="{BCB0F5E0-841E-4070-A1BB-A254B124F66C}" destId="{87201BB1-395D-4B1F-88E0-55E6FBBBDD99}" srcOrd="0" destOrd="0" parTransId="{CBBA80A2-1456-4DE9-A48B-C3CC12138D69}" sibTransId="{E9DF15E5-06BC-4E9C-B315-17F64B41459A}"/>
    <dgm:cxn modelId="{E35D058A-6FAC-43AC-B4AA-183857C73AAA}" type="presOf" srcId="{F46B3D9C-77BD-4806-B669-210044CFB7AA}" destId="{A669329B-D9E2-4CC5-A0CA-FCADDB16A5EA}" srcOrd="0" destOrd="0" presId="urn:microsoft.com/office/officeart/2005/8/layout/hierarchy5"/>
    <dgm:cxn modelId="{4863F40C-9EA2-425F-88EF-1FC625E19418}" type="presParOf" srcId="{8D58C0C5-60A4-454D-A7C7-6670E675C8DA}" destId="{782F5A9B-6D74-4C44-A0AB-D64B523B846F}" srcOrd="0" destOrd="0" presId="urn:microsoft.com/office/officeart/2005/8/layout/hierarchy5"/>
    <dgm:cxn modelId="{9CFEF498-7453-4394-BD4E-90D37242E818}" type="presParOf" srcId="{782F5A9B-6D74-4C44-A0AB-D64B523B846F}" destId="{75D2F864-9FDA-49F6-BF26-534372737C90}" srcOrd="0" destOrd="0" presId="urn:microsoft.com/office/officeart/2005/8/layout/hierarchy5"/>
    <dgm:cxn modelId="{6743C4F2-B6C5-405D-8459-2AB929E93F6A}" type="presParOf" srcId="{782F5A9B-6D74-4C44-A0AB-D64B523B846F}" destId="{58B47886-01D9-4BD3-8F33-6DD1DC14CC64}" srcOrd="1" destOrd="0" presId="urn:microsoft.com/office/officeart/2005/8/layout/hierarchy5"/>
    <dgm:cxn modelId="{36541BE4-A1E9-40E1-B637-F71A3FAA2C47}" type="presParOf" srcId="{58B47886-01D9-4BD3-8F33-6DD1DC14CC64}" destId="{F3187D92-366E-45D7-8EB8-5EB012ECF93D}" srcOrd="0" destOrd="0" presId="urn:microsoft.com/office/officeart/2005/8/layout/hierarchy5"/>
    <dgm:cxn modelId="{747DE87A-A6B7-473B-9074-18B1C3F79F70}" type="presParOf" srcId="{F3187D92-366E-45D7-8EB8-5EB012ECF93D}" destId="{C3192294-998D-4925-9864-0F5493BE1276}" srcOrd="0" destOrd="0" presId="urn:microsoft.com/office/officeart/2005/8/layout/hierarchy5"/>
    <dgm:cxn modelId="{BE056507-50B2-4F94-B4B3-2ED4DF8527EE}" type="presParOf" srcId="{F3187D92-366E-45D7-8EB8-5EB012ECF93D}" destId="{A674F10B-F594-46A0-9305-275AB217B08D}" srcOrd="1" destOrd="0" presId="urn:microsoft.com/office/officeart/2005/8/layout/hierarchy5"/>
    <dgm:cxn modelId="{6704BEC0-C1E0-4019-AD5A-D0DC0DA68F79}" type="presParOf" srcId="{A674F10B-F594-46A0-9305-275AB217B08D}" destId="{4F6071C6-F078-47E7-8D9C-C4776B9A3707}" srcOrd="0" destOrd="0" presId="urn:microsoft.com/office/officeart/2005/8/layout/hierarchy5"/>
    <dgm:cxn modelId="{AFAA6901-84DC-40B1-B051-B6E767A3BEAC}" type="presParOf" srcId="{4F6071C6-F078-47E7-8D9C-C4776B9A3707}" destId="{516904A2-CF16-430E-ABE6-83ECEC757F8B}" srcOrd="0" destOrd="0" presId="urn:microsoft.com/office/officeart/2005/8/layout/hierarchy5"/>
    <dgm:cxn modelId="{69ABD79D-5C29-4E92-A1E5-F28D14748E30}" type="presParOf" srcId="{A674F10B-F594-46A0-9305-275AB217B08D}" destId="{5B4F0BE9-8432-4710-84A1-FEFBA1CE641B}" srcOrd="1" destOrd="0" presId="urn:microsoft.com/office/officeart/2005/8/layout/hierarchy5"/>
    <dgm:cxn modelId="{9E26E2E9-EA03-4B4B-9C03-D8472A6C6C5C}" type="presParOf" srcId="{5B4F0BE9-8432-4710-84A1-FEFBA1CE641B}" destId="{49D2DD1B-CA1F-4F15-ADAB-D4B4C0956D97}" srcOrd="0" destOrd="0" presId="urn:microsoft.com/office/officeart/2005/8/layout/hierarchy5"/>
    <dgm:cxn modelId="{969BE8D5-FE9C-417B-A382-58EC56A8CD8D}" type="presParOf" srcId="{5B4F0BE9-8432-4710-84A1-FEFBA1CE641B}" destId="{6A48FD4C-6980-4131-850D-52075E410DDB}" srcOrd="1" destOrd="0" presId="urn:microsoft.com/office/officeart/2005/8/layout/hierarchy5"/>
    <dgm:cxn modelId="{630B6ADF-DA68-4FF7-9FC1-0F1789F3DB16}" type="presParOf" srcId="{6A48FD4C-6980-4131-850D-52075E410DDB}" destId="{2CB91D52-C587-411B-BD9B-5F90512EC0A5}" srcOrd="0" destOrd="0" presId="urn:microsoft.com/office/officeart/2005/8/layout/hierarchy5"/>
    <dgm:cxn modelId="{4EC4E7F7-01A0-460B-BF9E-BB03611C1440}" type="presParOf" srcId="{2CB91D52-C587-411B-BD9B-5F90512EC0A5}" destId="{7912AC46-C8D8-4967-BB7F-28D583FFA1B3}" srcOrd="0" destOrd="0" presId="urn:microsoft.com/office/officeart/2005/8/layout/hierarchy5"/>
    <dgm:cxn modelId="{B98A5B8E-DC40-43F9-A8C8-393900137A9C}" type="presParOf" srcId="{6A48FD4C-6980-4131-850D-52075E410DDB}" destId="{977A726D-2568-4420-8339-D7A731B7557D}" srcOrd="1" destOrd="0" presId="urn:microsoft.com/office/officeart/2005/8/layout/hierarchy5"/>
    <dgm:cxn modelId="{791422AF-45C3-47F8-9645-41CAEFB261F1}" type="presParOf" srcId="{977A726D-2568-4420-8339-D7A731B7557D}" destId="{0FA3EC30-89E8-470B-894E-5CCFD268F390}" srcOrd="0" destOrd="0" presId="urn:microsoft.com/office/officeart/2005/8/layout/hierarchy5"/>
    <dgm:cxn modelId="{BE20EF3F-6EBA-4B0E-8647-547B6F614764}" type="presParOf" srcId="{977A726D-2568-4420-8339-D7A731B7557D}" destId="{5EF79DEB-3821-4CC3-B245-6A3576F08D83}" srcOrd="1" destOrd="0" presId="urn:microsoft.com/office/officeart/2005/8/layout/hierarchy5"/>
    <dgm:cxn modelId="{5C31EC35-A254-4B0C-8CA2-BB0AAD56A472}" type="presParOf" srcId="{6A48FD4C-6980-4131-850D-52075E410DDB}" destId="{F96D3184-A955-46BA-A339-C7B85E4457D6}" srcOrd="2" destOrd="0" presId="urn:microsoft.com/office/officeart/2005/8/layout/hierarchy5"/>
    <dgm:cxn modelId="{54BFFAE1-7C74-42BB-B2AC-C0D8740E362E}" type="presParOf" srcId="{F96D3184-A955-46BA-A339-C7B85E4457D6}" destId="{D39ABCEE-499E-4690-82D7-1621F6B28DA4}" srcOrd="0" destOrd="0" presId="urn:microsoft.com/office/officeart/2005/8/layout/hierarchy5"/>
    <dgm:cxn modelId="{157110D8-5F56-44B6-8EA0-81C69027EA38}" type="presParOf" srcId="{6A48FD4C-6980-4131-850D-52075E410DDB}" destId="{3A7C5355-9489-4CE4-91B4-CFC858D77680}" srcOrd="3" destOrd="0" presId="urn:microsoft.com/office/officeart/2005/8/layout/hierarchy5"/>
    <dgm:cxn modelId="{F8B3DEC4-EDC3-465D-AFC3-A8C8E4B8CA4D}" type="presParOf" srcId="{3A7C5355-9489-4CE4-91B4-CFC858D77680}" destId="{2F44E76B-3C5E-49FF-AE6D-361C15F6FCCC}" srcOrd="0" destOrd="0" presId="urn:microsoft.com/office/officeart/2005/8/layout/hierarchy5"/>
    <dgm:cxn modelId="{98944E01-C240-4AA2-8781-C786D1F1F1F0}" type="presParOf" srcId="{3A7C5355-9489-4CE4-91B4-CFC858D77680}" destId="{218F3F60-D435-4FE2-9148-9DB1B220A4DA}" srcOrd="1" destOrd="0" presId="urn:microsoft.com/office/officeart/2005/8/layout/hierarchy5"/>
    <dgm:cxn modelId="{ECB45EDC-BAB2-4966-8C8A-FE14817F7336}" type="presParOf" srcId="{A674F10B-F594-46A0-9305-275AB217B08D}" destId="{D952A7BA-142D-442A-B0EC-EE0F5C3A2EA7}" srcOrd="2" destOrd="0" presId="urn:microsoft.com/office/officeart/2005/8/layout/hierarchy5"/>
    <dgm:cxn modelId="{6D1B3CDC-1106-4112-AA4F-5E99697BF1AA}" type="presParOf" srcId="{D952A7BA-142D-442A-B0EC-EE0F5C3A2EA7}" destId="{B32E5212-695D-4BB0-9621-A117967C9F0E}" srcOrd="0" destOrd="0" presId="urn:microsoft.com/office/officeart/2005/8/layout/hierarchy5"/>
    <dgm:cxn modelId="{EE552DF4-D2C4-4287-8B8A-905C0532CD70}" type="presParOf" srcId="{A674F10B-F594-46A0-9305-275AB217B08D}" destId="{27785523-EE50-45AD-93B3-180D252B7C1A}" srcOrd="3" destOrd="0" presId="urn:microsoft.com/office/officeart/2005/8/layout/hierarchy5"/>
    <dgm:cxn modelId="{608D087C-9C89-44D3-B5A7-B087520D9959}" type="presParOf" srcId="{27785523-EE50-45AD-93B3-180D252B7C1A}" destId="{0A706720-153F-4523-B184-1EF51C7B08F5}" srcOrd="0" destOrd="0" presId="urn:microsoft.com/office/officeart/2005/8/layout/hierarchy5"/>
    <dgm:cxn modelId="{CAF27A94-1513-43F2-BA50-8E312B2C5F9C}" type="presParOf" srcId="{27785523-EE50-45AD-93B3-180D252B7C1A}" destId="{D3A16127-CE30-4B21-BDFA-4874600D314F}" srcOrd="1" destOrd="0" presId="urn:microsoft.com/office/officeart/2005/8/layout/hierarchy5"/>
    <dgm:cxn modelId="{3D1786AC-1815-4D95-95B2-750C446B6A2D}" type="presParOf" srcId="{D3A16127-CE30-4B21-BDFA-4874600D314F}" destId="{0B689192-EC09-4763-9F85-152FABC18087}" srcOrd="0" destOrd="0" presId="urn:microsoft.com/office/officeart/2005/8/layout/hierarchy5"/>
    <dgm:cxn modelId="{756B9712-B90E-4352-A85D-EE30A30245A1}" type="presParOf" srcId="{0B689192-EC09-4763-9F85-152FABC18087}" destId="{A410D268-4F77-48C2-89D6-F2C12CD6E255}" srcOrd="0" destOrd="0" presId="urn:microsoft.com/office/officeart/2005/8/layout/hierarchy5"/>
    <dgm:cxn modelId="{F7C2FA81-4716-4450-8AC0-9CA8B5C84870}" type="presParOf" srcId="{D3A16127-CE30-4B21-BDFA-4874600D314F}" destId="{8E65DA4D-C0DA-4EBF-873C-A297BB0ED0FF}" srcOrd="1" destOrd="0" presId="urn:microsoft.com/office/officeart/2005/8/layout/hierarchy5"/>
    <dgm:cxn modelId="{DF31E8A7-5DA0-485A-976C-B63018BAF679}" type="presParOf" srcId="{8E65DA4D-C0DA-4EBF-873C-A297BB0ED0FF}" destId="{B34CC6B2-F808-48C8-8364-330E8A2E707D}" srcOrd="0" destOrd="0" presId="urn:microsoft.com/office/officeart/2005/8/layout/hierarchy5"/>
    <dgm:cxn modelId="{5883131A-43CF-46C1-A21C-54DE129E7BD4}" type="presParOf" srcId="{8E65DA4D-C0DA-4EBF-873C-A297BB0ED0FF}" destId="{5C010158-EFE1-4016-97D3-157DBB9CA008}" srcOrd="1" destOrd="0" presId="urn:microsoft.com/office/officeart/2005/8/layout/hierarchy5"/>
    <dgm:cxn modelId="{402E1567-7ADD-43E6-BC3F-42F099CA9B40}" type="presParOf" srcId="{D3A16127-CE30-4B21-BDFA-4874600D314F}" destId="{61C43142-90FB-4BDD-AF70-BB606AE83217}" srcOrd="2" destOrd="0" presId="urn:microsoft.com/office/officeart/2005/8/layout/hierarchy5"/>
    <dgm:cxn modelId="{2FC9DDE3-89F7-4ECC-93FD-9FA215EF4F8E}" type="presParOf" srcId="{61C43142-90FB-4BDD-AF70-BB606AE83217}" destId="{CA758CCB-E034-44C8-84DE-A96F4C3F95D2}" srcOrd="0" destOrd="0" presId="urn:microsoft.com/office/officeart/2005/8/layout/hierarchy5"/>
    <dgm:cxn modelId="{7A4246AE-D075-4DF1-98B2-76576CC7984A}" type="presParOf" srcId="{D3A16127-CE30-4B21-BDFA-4874600D314F}" destId="{2757B302-3465-48DB-984A-4E33B2818581}" srcOrd="3" destOrd="0" presId="urn:microsoft.com/office/officeart/2005/8/layout/hierarchy5"/>
    <dgm:cxn modelId="{173DB87D-1713-4C26-AB6C-0A910BF5989F}" type="presParOf" srcId="{2757B302-3465-48DB-984A-4E33B2818581}" destId="{A669329B-D9E2-4CC5-A0CA-FCADDB16A5EA}" srcOrd="0" destOrd="0" presId="urn:microsoft.com/office/officeart/2005/8/layout/hierarchy5"/>
    <dgm:cxn modelId="{6B17EBE7-52C1-4215-AEBD-638CFB97F5CF}" type="presParOf" srcId="{2757B302-3465-48DB-984A-4E33B2818581}" destId="{29420304-CAFA-46D5-AEE6-4F3D8CFBC6CF}" srcOrd="1" destOrd="0" presId="urn:microsoft.com/office/officeart/2005/8/layout/hierarchy5"/>
    <dgm:cxn modelId="{8380C527-4D2B-4446-9C10-B6D9B91E4391}" type="presParOf" srcId="{8D58C0C5-60A4-454D-A7C7-6670E675C8DA}" destId="{9D5B283F-C924-44A4-95BF-1319A2C200FD}" srcOrd="1" destOrd="0" presId="urn:microsoft.com/office/officeart/2005/8/layout/hierarchy5"/>
    <dgm:cxn modelId="{F46B82D1-E55B-4F7B-9C97-3C99051EFD08}" type="presParOf" srcId="{9D5B283F-C924-44A4-95BF-1319A2C200FD}" destId="{4958F08B-C3B0-4D8C-BF04-8E93D2C3887D}" srcOrd="0" destOrd="0" presId="urn:microsoft.com/office/officeart/2005/8/layout/hierarchy5"/>
    <dgm:cxn modelId="{7FFF1CF1-B096-4E73-8CC8-25B65749430A}" type="presParOf" srcId="{4958F08B-C3B0-4D8C-BF04-8E93D2C3887D}" destId="{9CA81732-F4CE-49F5-ABCC-BC29C9215BD6}" srcOrd="0" destOrd="0" presId="urn:microsoft.com/office/officeart/2005/8/layout/hierarchy5"/>
    <dgm:cxn modelId="{3B77A0DB-0CEA-43DD-9EAD-D8A4B2022BAB}" type="presParOf" srcId="{4958F08B-C3B0-4D8C-BF04-8E93D2C3887D}" destId="{697FD07A-0839-44E6-87A8-DC6E84624732}" srcOrd="1" destOrd="0" presId="urn:microsoft.com/office/officeart/2005/8/layout/hierarchy5"/>
    <dgm:cxn modelId="{073A5917-C8C3-41BE-B28B-C402388EF80B}" type="presParOf" srcId="{9D5B283F-C924-44A4-95BF-1319A2C200FD}" destId="{0E0E39E4-7415-49AD-803D-22A8D8D60577}" srcOrd="1" destOrd="0" presId="urn:microsoft.com/office/officeart/2005/8/layout/hierarchy5"/>
    <dgm:cxn modelId="{057DB4E6-4BBF-476B-9729-7D57416DDC58}" type="presParOf" srcId="{0E0E39E4-7415-49AD-803D-22A8D8D60577}" destId="{214A256C-DF6C-401F-BA89-F82937365672}" srcOrd="0" destOrd="0" presId="urn:microsoft.com/office/officeart/2005/8/layout/hierarchy5"/>
    <dgm:cxn modelId="{ADEDB5D3-339A-4938-8DBE-97EA2CD76C92}" type="presParOf" srcId="{9D5B283F-C924-44A4-95BF-1319A2C200FD}" destId="{7DD2269D-A0C0-4C0F-A342-B05DB925C874}" srcOrd="2" destOrd="0" presId="urn:microsoft.com/office/officeart/2005/8/layout/hierarchy5"/>
    <dgm:cxn modelId="{BCB6420A-1680-4575-8C1B-E8A49466313F}" type="presParOf" srcId="{7DD2269D-A0C0-4C0F-A342-B05DB925C874}" destId="{31FCEB4A-D007-4636-8AFC-FBF64741107A}" srcOrd="0" destOrd="0" presId="urn:microsoft.com/office/officeart/2005/8/layout/hierarchy5"/>
    <dgm:cxn modelId="{F3C63E09-B846-46E8-A20B-E421FD0BF04D}" type="presParOf" srcId="{7DD2269D-A0C0-4C0F-A342-B05DB925C874}" destId="{0A658FD7-D2BD-4DE3-918C-7A26FC1964BC}" srcOrd="1" destOrd="0" presId="urn:microsoft.com/office/officeart/2005/8/layout/hierarchy5"/>
    <dgm:cxn modelId="{1189DC9C-833C-4F5F-BE8B-06954F0F8DA4}" type="presParOf" srcId="{9D5B283F-C924-44A4-95BF-1319A2C200FD}" destId="{A7C1493F-FC46-4367-BE8B-1C0A592C8DFB}" srcOrd="3" destOrd="0" presId="urn:microsoft.com/office/officeart/2005/8/layout/hierarchy5"/>
    <dgm:cxn modelId="{E39BBDB6-5AD6-44F6-AE61-2B55F750AD4C}" type="presParOf" srcId="{A7C1493F-FC46-4367-BE8B-1C0A592C8DFB}" destId="{6B51EB0B-C1AD-4B4A-8219-14A3060E84B8}" srcOrd="0" destOrd="0" presId="urn:microsoft.com/office/officeart/2005/8/layout/hierarchy5"/>
    <dgm:cxn modelId="{ECC30C90-F1A4-4D9F-A67C-3E6FD4E58742}" type="presParOf" srcId="{9D5B283F-C924-44A4-95BF-1319A2C200FD}" destId="{376F853D-9562-4AED-A33E-751679D6134D}" srcOrd="4" destOrd="0" presId="urn:microsoft.com/office/officeart/2005/8/layout/hierarchy5"/>
    <dgm:cxn modelId="{B5C32749-6D8D-459B-B423-53AAA5F3C7E5}" type="presParOf" srcId="{376F853D-9562-4AED-A33E-751679D6134D}" destId="{4197D089-C911-435A-92D4-FC075C87574E}" srcOrd="0" destOrd="0" presId="urn:microsoft.com/office/officeart/2005/8/layout/hierarchy5"/>
    <dgm:cxn modelId="{49F5C7BE-D886-4566-B295-3FAB1544A364}" type="presParOf" srcId="{376F853D-9562-4AED-A33E-751679D6134D}" destId="{F0B66C4C-9FC4-4092-921A-143AF7B67B79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B9D7BD10-5916-40EF-A16E-504931AE48A5}">
      <dgm:prSet phldrT="[Tekst]" custT="1"/>
      <dgm:spPr/>
      <dgm:t>
        <a:bodyPr/>
        <a:lstStyle/>
        <a:p>
          <a:r>
            <a:rPr lang="nb-NO" sz="1400"/>
            <a:t>Masterprogram</a:t>
          </a:r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400"/>
            <a:t>333333 Master </a:t>
          </a:r>
          <a:r>
            <a:rPr lang="nb-NO" sz="1400" err="1"/>
            <a:t>fysio</a:t>
          </a:r>
          <a:endParaRPr lang="nb-NO" sz="1400"/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/>
            <a:t>333333001 Masterstudent XX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400"/>
            <a:t>333333002 Masterstudent YY</a:t>
          </a:r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67751FE8-738B-46CF-BD08-F0FC5E048B81}">
      <dgm:prSet phldrT="[Tekst]" custT="1"/>
      <dgm:spPr/>
      <dgm:t>
        <a:bodyPr/>
        <a:lstStyle/>
        <a:p>
          <a:r>
            <a:rPr lang="nb-NO" sz="1400"/>
            <a:t>444444 Master </a:t>
          </a:r>
          <a:r>
            <a:rPr lang="nb-NO" sz="1400" err="1"/>
            <a:t>nevro</a:t>
          </a:r>
          <a:endParaRPr lang="nb-NO" sz="1400"/>
        </a:p>
      </dgm:t>
    </dgm:pt>
    <dgm:pt modelId="{F1B671B6-A9CE-4640-B0AB-A51B20E658CC}" type="parTrans" cxnId="{504F35A7-C47A-45D7-AEDC-D36C319FFD7C}">
      <dgm:prSet custT="1"/>
      <dgm:spPr/>
      <dgm:t>
        <a:bodyPr/>
        <a:lstStyle/>
        <a:p>
          <a:endParaRPr lang="nb-NO" sz="100"/>
        </a:p>
      </dgm:t>
    </dgm:pt>
    <dgm:pt modelId="{95F02C6D-A6F4-48B8-8D90-6F3D38B4F918}" type="sibTrans" cxnId="{504F35A7-C47A-45D7-AEDC-D36C319FFD7C}">
      <dgm:prSet/>
      <dgm:spPr/>
      <dgm:t>
        <a:bodyPr/>
        <a:lstStyle/>
        <a:p>
          <a:endParaRPr lang="nb-NO" sz="900"/>
        </a:p>
      </dgm:t>
    </dgm:pt>
    <dgm:pt modelId="{3C5DF60D-BF54-49FD-8862-A904172A7B29}">
      <dgm:prSet phldrT="[Tekst]" custT="1"/>
      <dgm:spPr/>
      <dgm:t>
        <a:bodyPr/>
        <a:lstStyle/>
        <a:p>
          <a:r>
            <a:rPr lang="nb-NO" sz="1400"/>
            <a:t>44444401</a:t>
          </a:r>
        </a:p>
        <a:p>
          <a:r>
            <a:rPr lang="nb-NO" sz="1400"/>
            <a:t>Generell drift</a:t>
          </a:r>
        </a:p>
      </dgm:t>
    </dgm:pt>
    <dgm:pt modelId="{087E36DB-484E-4E58-A349-9B15ABE8AF61}" type="parTrans" cxnId="{85D3A73D-E939-49D0-9306-CFC4BC239742}">
      <dgm:prSet custT="1"/>
      <dgm:spPr/>
      <dgm:t>
        <a:bodyPr/>
        <a:lstStyle/>
        <a:p>
          <a:endParaRPr lang="nb-NO" sz="100"/>
        </a:p>
      </dgm:t>
    </dgm:pt>
    <dgm:pt modelId="{2E945077-5107-449C-B3F1-9B923CAB9519}" type="sibTrans" cxnId="{85D3A73D-E939-49D0-9306-CFC4BC239742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7072F71-4897-402F-B494-F4623B344353}">
      <dgm:prSet phldrT="[Tekst]" custT="1"/>
      <dgm:spPr/>
      <dgm:t>
        <a:bodyPr/>
        <a:lstStyle/>
        <a:p>
          <a:r>
            <a:rPr lang="nb-NO" sz="1400"/>
            <a:t>Investering simulering</a:t>
          </a:r>
        </a:p>
      </dgm:t>
    </dgm:pt>
    <dgm:pt modelId="{4C8A946D-DA81-4BFC-B1EC-4346E90DFA03}" type="parTrans" cxnId="{3EB82E42-C85D-40F7-8F94-8400B17CDE82}">
      <dgm:prSet/>
      <dgm:spPr/>
      <dgm:t>
        <a:bodyPr/>
        <a:lstStyle/>
        <a:p>
          <a:endParaRPr lang="nb-NO"/>
        </a:p>
      </dgm:t>
    </dgm:pt>
    <dgm:pt modelId="{1AE7DE31-F272-4046-965B-38581BBF5930}" type="sibTrans" cxnId="{3EB82E42-C85D-40F7-8F94-8400B17CDE82}">
      <dgm:prSet/>
      <dgm:spPr/>
      <dgm:t>
        <a:bodyPr/>
        <a:lstStyle/>
        <a:p>
          <a:endParaRPr lang="nb-NO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2"/>
      <dgm:spPr/>
      <dgm:t>
        <a:bodyPr/>
        <a:lstStyle/>
        <a:p>
          <a:endParaRPr lang="nb-NO"/>
        </a:p>
      </dgm:t>
    </dgm:pt>
    <dgm:pt modelId="{54D75276-1A39-47DE-9F78-430842048905}" type="pres">
      <dgm:prSet presAssocID="{3F776734-8251-4DC1-A41E-1310B9C4E0DF}" presName="connTx" presStyleLbl="parChTrans1D2" presStyleIdx="0" presStyleCnt="2"/>
      <dgm:spPr/>
      <dgm:t>
        <a:bodyPr/>
        <a:lstStyle/>
        <a:p>
          <a:endParaRPr lang="nb-NO"/>
        </a:p>
      </dgm:t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2"/>
      <dgm:spPr/>
      <dgm:t>
        <a:bodyPr/>
        <a:lstStyle/>
        <a:p>
          <a:endParaRPr lang="nb-NO"/>
        </a:p>
      </dgm:t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4"/>
      <dgm:spPr/>
      <dgm:t>
        <a:bodyPr/>
        <a:lstStyle/>
        <a:p>
          <a:endParaRPr lang="nb-NO"/>
        </a:p>
      </dgm:t>
    </dgm:pt>
    <dgm:pt modelId="{A7C50161-927A-47EC-B63B-B8C344690E94}" type="pres">
      <dgm:prSet presAssocID="{794FED05-47DB-45CE-AC08-9990E07312DF}" presName="connTx" presStyleLbl="parChTrans1D3" presStyleIdx="0" presStyleCnt="4"/>
      <dgm:spPr/>
      <dgm:t>
        <a:bodyPr/>
        <a:lstStyle/>
        <a:p>
          <a:endParaRPr lang="nb-NO"/>
        </a:p>
      </dgm:t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4"/>
      <dgm:spPr/>
      <dgm:t>
        <a:bodyPr/>
        <a:lstStyle/>
        <a:p>
          <a:endParaRPr lang="nb-NO"/>
        </a:p>
      </dgm:t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4"/>
      <dgm:spPr/>
      <dgm:t>
        <a:bodyPr/>
        <a:lstStyle/>
        <a:p>
          <a:endParaRPr lang="nb-NO"/>
        </a:p>
      </dgm:t>
    </dgm:pt>
    <dgm:pt modelId="{EA29F95E-15AF-48A6-83F0-794D4C5E302C}" type="pres">
      <dgm:prSet presAssocID="{9DF3BA3D-F408-4101-A4FC-B6CACB2981EF}" presName="connTx" presStyleLbl="parChTrans1D3" presStyleIdx="1" presStyleCnt="4"/>
      <dgm:spPr/>
      <dgm:t>
        <a:bodyPr/>
        <a:lstStyle/>
        <a:p>
          <a:endParaRPr lang="nb-NO"/>
        </a:p>
      </dgm:t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4"/>
      <dgm:spPr/>
      <dgm:t>
        <a:bodyPr/>
        <a:lstStyle/>
        <a:p>
          <a:endParaRPr lang="nb-NO"/>
        </a:p>
      </dgm:t>
    </dgm:pt>
    <dgm:pt modelId="{616C9D17-1CD7-4E03-AA51-6209DF770C50}" type="pres">
      <dgm:prSet presAssocID="{A80DB4F5-681A-46D8-B028-B8248EAD5BA3}" presName="hierChild3" presStyleCnt="0"/>
      <dgm:spPr/>
    </dgm:pt>
    <dgm:pt modelId="{D5BE51A4-22A1-45A6-BAEB-5092DC5DEE49}" type="pres">
      <dgm:prSet presAssocID="{F1B671B6-A9CE-4640-B0AB-A51B20E658CC}" presName="Name25" presStyleLbl="parChTrans1D2" presStyleIdx="1" presStyleCnt="2"/>
      <dgm:spPr/>
      <dgm:t>
        <a:bodyPr/>
        <a:lstStyle/>
        <a:p>
          <a:endParaRPr lang="nb-NO"/>
        </a:p>
      </dgm:t>
    </dgm:pt>
    <dgm:pt modelId="{71A627F0-4915-45C8-816D-6E030C90D6D7}" type="pres">
      <dgm:prSet presAssocID="{F1B671B6-A9CE-4640-B0AB-A51B20E658CC}" presName="connTx" presStyleLbl="parChTrans1D2" presStyleIdx="1" presStyleCnt="2"/>
      <dgm:spPr/>
      <dgm:t>
        <a:bodyPr/>
        <a:lstStyle/>
        <a:p>
          <a:endParaRPr lang="nb-NO"/>
        </a:p>
      </dgm:t>
    </dgm:pt>
    <dgm:pt modelId="{6F6908CF-3300-41DF-A9B3-92BA421A3483}" type="pres">
      <dgm:prSet presAssocID="{67751FE8-738B-46CF-BD08-F0FC5E048B81}" presName="Name30" presStyleCnt="0"/>
      <dgm:spPr/>
    </dgm:pt>
    <dgm:pt modelId="{ABCA2AB5-31E5-4A60-855A-972D94E84372}" type="pres">
      <dgm:prSet presAssocID="{67751FE8-738B-46CF-BD08-F0FC5E048B81}" presName="level2Shape" presStyleLbl="node2" presStyleIdx="1" presStyleCnt="2"/>
      <dgm:spPr/>
      <dgm:t>
        <a:bodyPr/>
        <a:lstStyle/>
        <a:p>
          <a:endParaRPr lang="nb-NO"/>
        </a:p>
      </dgm:t>
    </dgm:pt>
    <dgm:pt modelId="{17BD10DE-6F91-451F-A056-83D010BB3ACA}" type="pres">
      <dgm:prSet presAssocID="{67751FE8-738B-46CF-BD08-F0FC5E048B81}" presName="hierChild3" presStyleCnt="0"/>
      <dgm:spPr/>
    </dgm:pt>
    <dgm:pt modelId="{77150375-35D9-4E8A-A191-228EB82C5D21}" type="pres">
      <dgm:prSet presAssocID="{087E36DB-484E-4E58-A349-9B15ABE8AF61}" presName="Name25" presStyleLbl="parChTrans1D3" presStyleIdx="2" presStyleCnt="4"/>
      <dgm:spPr/>
      <dgm:t>
        <a:bodyPr/>
        <a:lstStyle/>
        <a:p>
          <a:endParaRPr lang="nb-NO"/>
        </a:p>
      </dgm:t>
    </dgm:pt>
    <dgm:pt modelId="{4868D1C0-BE0C-423C-A44B-BA720359DC9D}" type="pres">
      <dgm:prSet presAssocID="{087E36DB-484E-4E58-A349-9B15ABE8AF61}" presName="connTx" presStyleLbl="parChTrans1D3" presStyleIdx="2" presStyleCnt="4"/>
      <dgm:spPr/>
      <dgm:t>
        <a:bodyPr/>
        <a:lstStyle/>
        <a:p>
          <a:endParaRPr lang="nb-NO"/>
        </a:p>
      </dgm:t>
    </dgm:pt>
    <dgm:pt modelId="{AA259918-6D0C-4758-B958-3008B9EA7A76}" type="pres">
      <dgm:prSet presAssocID="{3C5DF60D-BF54-49FD-8862-A904172A7B29}" presName="Name30" presStyleCnt="0"/>
      <dgm:spPr/>
    </dgm:pt>
    <dgm:pt modelId="{19082A1C-C158-4088-BFF4-A000F078F443}" type="pres">
      <dgm:prSet presAssocID="{3C5DF60D-BF54-49FD-8862-A904172A7B29}" presName="level2Shape" presStyleLbl="node3" presStyleIdx="2" presStyleCnt="4"/>
      <dgm:spPr/>
      <dgm:t>
        <a:bodyPr/>
        <a:lstStyle/>
        <a:p>
          <a:endParaRPr lang="nb-NO"/>
        </a:p>
      </dgm:t>
    </dgm:pt>
    <dgm:pt modelId="{D3A3DA0B-936D-4BE7-8E0C-142589D1232A}" type="pres">
      <dgm:prSet presAssocID="{3C5DF60D-BF54-49FD-8862-A904172A7B29}" presName="hierChild3" presStyleCnt="0"/>
      <dgm:spPr/>
    </dgm:pt>
    <dgm:pt modelId="{3728E5FB-7008-4FE2-9F6A-F1B7B9038021}" type="pres">
      <dgm:prSet presAssocID="{4C8A946D-DA81-4BFC-B1EC-4346E90DFA03}" presName="Name25" presStyleLbl="parChTrans1D3" presStyleIdx="3" presStyleCnt="4"/>
      <dgm:spPr/>
      <dgm:t>
        <a:bodyPr/>
        <a:lstStyle/>
        <a:p>
          <a:endParaRPr lang="nb-NO"/>
        </a:p>
      </dgm:t>
    </dgm:pt>
    <dgm:pt modelId="{8358C5B2-3BA0-47FA-A26C-05E05707F9A9}" type="pres">
      <dgm:prSet presAssocID="{4C8A946D-DA81-4BFC-B1EC-4346E90DFA03}" presName="connTx" presStyleLbl="parChTrans1D3" presStyleIdx="3" presStyleCnt="4"/>
      <dgm:spPr/>
      <dgm:t>
        <a:bodyPr/>
        <a:lstStyle/>
        <a:p>
          <a:endParaRPr lang="nb-NO"/>
        </a:p>
      </dgm:t>
    </dgm:pt>
    <dgm:pt modelId="{B6256A62-1BC2-4024-A9E1-5C9031BD378A}" type="pres">
      <dgm:prSet presAssocID="{B7072F71-4897-402F-B494-F4623B344353}" presName="Name30" presStyleCnt="0"/>
      <dgm:spPr/>
    </dgm:pt>
    <dgm:pt modelId="{5DCD88EE-F40B-4799-82E8-C29E501B3021}" type="pres">
      <dgm:prSet presAssocID="{B7072F71-4897-402F-B494-F4623B344353}" presName="level2Shape" presStyleLbl="node3" presStyleIdx="3" presStyleCnt="4"/>
      <dgm:spPr/>
      <dgm:t>
        <a:bodyPr/>
        <a:lstStyle/>
        <a:p>
          <a:endParaRPr lang="nb-NO"/>
        </a:p>
      </dgm:t>
    </dgm:pt>
    <dgm:pt modelId="{B6685376-692F-41C6-9029-23D768156401}" type="pres">
      <dgm:prSet presAssocID="{B7072F71-4897-402F-B494-F4623B34435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  <dgm:t>
        <a:bodyPr/>
        <a:lstStyle/>
        <a:p>
          <a:endParaRPr lang="nb-NO"/>
        </a:p>
      </dgm:t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  <dgm:t>
        <a:bodyPr/>
        <a:lstStyle/>
        <a:p>
          <a:endParaRPr lang="nb-NO"/>
        </a:p>
      </dgm:t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  <dgm:t>
        <a:bodyPr/>
        <a:lstStyle/>
        <a:p>
          <a:endParaRPr lang="nb-NO"/>
        </a:p>
      </dgm:t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AFB2D62E-5F43-4319-BC5B-E2162EEA5E96}" type="presOf" srcId="{F1B671B6-A9CE-4640-B0AB-A51B20E658CC}" destId="{D5BE51A4-22A1-45A6-BAEB-5092DC5DEE49}" srcOrd="0" destOrd="0" presId="urn:microsoft.com/office/officeart/2005/8/layout/hierarchy5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85D3A73D-E939-49D0-9306-CFC4BC239742}" srcId="{67751FE8-738B-46CF-BD08-F0FC5E048B81}" destId="{3C5DF60D-BF54-49FD-8862-A904172A7B29}" srcOrd="0" destOrd="0" parTransId="{087E36DB-484E-4E58-A349-9B15ABE8AF61}" sibTransId="{2E945077-5107-449C-B3F1-9B923CAB9519}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13774B4E-0637-4836-9DB7-FE790988A89D}" type="presOf" srcId="{4C8A946D-DA81-4BFC-B1EC-4346E90DFA03}" destId="{3728E5FB-7008-4FE2-9F6A-F1B7B9038021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130884CF-7782-4B23-9949-B06E136D81C8}" type="presOf" srcId="{087E36DB-484E-4E58-A349-9B15ABE8AF61}" destId="{77150375-35D9-4E8A-A191-228EB82C5D21}" srcOrd="0" destOrd="0" presId="urn:microsoft.com/office/officeart/2005/8/layout/hierarchy5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3EB82E42-C85D-40F7-8F94-8400B17CDE82}" srcId="{67751FE8-738B-46CF-BD08-F0FC5E048B81}" destId="{B7072F71-4897-402F-B494-F4623B344353}" srcOrd="1" destOrd="0" parTransId="{4C8A946D-DA81-4BFC-B1EC-4346E90DFA03}" sibTransId="{1AE7DE31-F272-4046-965B-38581BBF5930}"/>
    <dgm:cxn modelId="{5FB5664C-650D-4C29-8F3B-493CF77C0B3D}" type="presOf" srcId="{F1B671B6-A9CE-4640-B0AB-A51B20E658CC}" destId="{71A627F0-4915-45C8-816D-6E030C90D6D7}" srcOrd="1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EB2C6A39-79B7-46EE-82B6-EDBDC06C9DAF}" type="presOf" srcId="{B7072F71-4897-402F-B494-F4623B344353}" destId="{5DCD88EE-F40B-4799-82E8-C29E501B3021}" srcOrd="0" destOrd="0" presId="urn:microsoft.com/office/officeart/2005/8/layout/hierarchy5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8DA5684A-3958-47C9-B52B-C41CBF930737}" type="presOf" srcId="{087E36DB-484E-4E58-A349-9B15ABE8AF61}" destId="{4868D1C0-BE0C-423C-A44B-BA720359DC9D}" srcOrd="1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8702B65F-525D-49A1-B6C4-AA301F43C59C}" type="presOf" srcId="{4C8A946D-DA81-4BFC-B1EC-4346E90DFA03}" destId="{8358C5B2-3BA0-47FA-A26C-05E05707F9A9}" srcOrd="1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504F35A7-C47A-45D7-AEDC-D36C319FFD7C}" srcId="{B9D7BD10-5916-40EF-A16E-504931AE48A5}" destId="{67751FE8-738B-46CF-BD08-F0FC5E048B81}" srcOrd="1" destOrd="0" parTransId="{F1B671B6-A9CE-4640-B0AB-A51B20E658CC}" sibTransId="{95F02C6D-A6F4-48B8-8D90-6F3D38B4F918}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0064F75F-9516-49DF-AF50-E765DA604ED6}" type="presOf" srcId="{3C5DF60D-BF54-49FD-8862-A904172A7B29}" destId="{19082A1C-C158-4088-BFF4-A000F078F443}" srcOrd="0" destOrd="0" presId="urn:microsoft.com/office/officeart/2005/8/layout/hierarchy5"/>
    <dgm:cxn modelId="{43445798-72DA-46A4-821E-A4116692B243}" type="presOf" srcId="{67751FE8-738B-46CF-BD08-F0FC5E048B81}" destId="{ABCA2AB5-31E5-4A60-855A-972D94E84372}" srcOrd="0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AB12210C-9543-44CD-87F5-A2B08401037E}" type="presParOf" srcId="{61F55623-61BA-4BB8-9B7C-DF487421A484}" destId="{D5BE51A4-22A1-45A6-BAEB-5092DC5DEE49}" srcOrd="2" destOrd="0" presId="urn:microsoft.com/office/officeart/2005/8/layout/hierarchy5"/>
    <dgm:cxn modelId="{73778280-B2EA-4E75-B878-B374CC17BB58}" type="presParOf" srcId="{D5BE51A4-22A1-45A6-BAEB-5092DC5DEE49}" destId="{71A627F0-4915-45C8-816D-6E030C90D6D7}" srcOrd="0" destOrd="0" presId="urn:microsoft.com/office/officeart/2005/8/layout/hierarchy5"/>
    <dgm:cxn modelId="{4572304C-FF66-4392-803D-535CB7A9BBB2}" type="presParOf" srcId="{61F55623-61BA-4BB8-9B7C-DF487421A484}" destId="{6F6908CF-3300-41DF-A9B3-92BA421A3483}" srcOrd="3" destOrd="0" presId="urn:microsoft.com/office/officeart/2005/8/layout/hierarchy5"/>
    <dgm:cxn modelId="{2F280445-F4EE-4907-9B1F-18246DC2519A}" type="presParOf" srcId="{6F6908CF-3300-41DF-A9B3-92BA421A3483}" destId="{ABCA2AB5-31E5-4A60-855A-972D94E84372}" srcOrd="0" destOrd="0" presId="urn:microsoft.com/office/officeart/2005/8/layout/hierarchy5"/>
    <dgm:cxn modelId="{CFEDBC09-3D28-4690-96D6-8FC5866FC1C3}" type="presParOf" srcId="{6F6908CF-3300-41DF-A9B3-92BA421A3483}" destId="{17BD10DE-6F91-451F-A056-83D010BB3ACA}" srcOrd="1" destOrd="0" presId="urn:microsoft.com/office/officeart/2005/8/layout/hierarchy5"/>
    <dgm:cxn modelId="{1C3848AE-F259-4DD0-9228-D482DB29F4E2}" type="presParOf" srcId="{17BD10DE-6F91-451F-A056-83D010BB3ACA}" destId="{77150375-35D9-4E8A-A191-228EB82C5D21}" srcOrd="0" destOrd="0" presId="urn:microsoft.com/office/officeart/2005/8/layout/hierarchy5"/>
    <dgm:cxn modelId="{F6DB3924-6130-40BB-996A-D5E61E7B0430}" type="presParOf" srcId="{77150375-35D9-4E8A-A191-228EB82C5D21}" destId="{4868D1C0-BE0C-423C-A44B-BA720359DC9D}" srcOrd="0" destOrd="0" presId="urn:microsoft.com/office/officeart/2005/8/layout/hierarchy5"/>
    <dgm:cxn modelId="{37765B51-85AA-4F4E-8D06-77029D878BFD}" type="presParOf" srcId="{17BD10DE-6F91-451F-A056-83D010BB3ACA}" destId="{AA259918-6D0C-4758-B958-3008B9EA7A76}" srcOrd="1" destOrd="0" presId="urn:microsoft.com/office/officeart/2005/8/layout/hierarchy5"/>
    <dgm:cxn modelId="{624532BC-A4FD-4620-AD52-81575FEE7AF6}" type="presParOf" srcId="{AA259918-6D0C-4758-B958-3008B9EA7A76}" destId="{19082A1C-C158-4088-BFF4-A000F078F443}" srcOrd="0" destOrd="0" presId="urn:microsoft.com/office/officeart/2005/8/layout/hierarchy5"/>
    <dgm:cxn modelId="{AEA40EFF-F5BF-45F6-9664-ACB7C4BB724A}" type="presParOf" srcId="{AA259918-6D0C-4758-B958-3008B9EA7A76}" destId="{D3A3DA0B-936D-4BE7-8E0C-142589D1232A}" srcOrd="1" destOrd="0" presId="urn:microsoft.com/office/officeart/2005/8/layout/hierarchy5"/>
    <dgm:cxn modelId="{4BA8053E-441B-4A74-8A31-3CF790D7E2C2}" type="presParOf" srcId="{17BD10DE-6F91-451F-A056-83D010BB3ACA}" destId="{3728E5FB-7008-4FE2-9F6A-F1B7B9038021}" srcOrd="2" destOrd="0" presId="urn:microsoft.com/office/officeart/2005/8/layout/hierarchy5"/>
    <dgm:cxn modelId="{428239B5-67FA-4E4A-ACF0-984F1FCD186C}" type="presParOf" srcId="{3728E5FB-7008-4FE2-9F6A-F1B7B9038021}" destId="{8358C5B2-3BA0-47FA-A26C-05E05707F9A9}" srcOrd="0" destOrd="0" presId="urn:microsoft.com/office/officeart/2005/8/layout/hierarchy5"/>
    <dgm:cxn modelId="{06C96F16-D4EC-4137-8B17-4A2482920987}" type="presParOf" srcId="{17BD10DE-6F91-451F-A056-83D010BB3ACA}" destId="{B6256A62-1BC2-4024-A9E1-5C9031BD378A}" srcOrd="3" destOrd="0" presId="urn:microsoft.com/office/officeart/2005/8/layout/hierarchy5"/>
    <dgm:cxn modelId="{D3047156-8F6B-421C-A5D3-1318D5783CBF}" type="presParOf" srcId="{B6256A62-1BC2-4024-A9E1-5C9031BD378A}" destId="{5DCD88EE-F40B-4799-82E8-C29E501B3021}" srcOrd="0" destOrd="0" presId="urn:microsoft.com/office/officeart/2005/8/layout/hierarchy5"/>
    <dgm:cxn modelId="{B692599A-4FCA-46C8-B79D-DBDD6EB706EE}" type="presParOf" srcId="{B6256A62-1BC2-4024-A9E1-5C9031BD378A}" destId="{B6685376-692F-41C6-9029-23D768156401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400" dirty="0"/>
            <a:t>222222 Studieprogram</a:t>
          </a:r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 dirty="0"/>
            <a:t>222222001 Læringsareal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400" dirty="0"/>
            <a:t>222222002 Generell </a:t>
          </a:r>
          <a:r>
            <a:rPr lang="nb-NO" sz="1400" dirty="0" err="1"/>
            <a:t>utd.drift</a:t>
          </a:r>
          <a:endParaRPr lang="nb-NO" sz="1400" dirty="0"/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  <dgm:t>
        <a:bodyPr/>
        <a:lstStyle/>
        <a:p>
          <a:endParaRPr lang="nb-NO"/>
        </a:p>
      </dgm:t>
    </dgm:pt>
    <dgm:pt modelId="{54D75276-1A39-47DE-9F78-430842048905}" type="pres">
      <dgm:prSet presAssocID="{3F776734-8251-4DC1-A41E-1310B9C4E0DF}" presName="connTx" presStyleLbl="parChTrans1D2" presStyleIdx="0" presStyleCnt="1"/>
      <dgm:spPr/>
      <dgm:t>
        <a:bodyPr/>
        <a:lstStyle/>
        <a:p>
          <a:endParaRPr lang="nb-NO"/>
        </a:p>
      </dgm:t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  <dgm:t>
        <a:bodyPr/>
        <a:lstStyle/>
        <a:p>
          <a:endParaRPr lang="nb-NO"/>
        </a:p>
      </dgm:t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2"/>
      <dgm:spPr/>
      <dgm:t>
        <a:bodyPr/>
        <a:lstStyle/>
        <a:p>
          <a:endParaRPr lang="nb-NO"/>
        </a:p>
      </dgm:t>
    </dgm:pt>
    <dgm:pt modelId="{A7C50161-927A-47EC-B63B-B8C344690E94}" type="pres">
      <dgm:prSet presAssocID="{794FED05-47DB-45CE-AC08-9990E07312DF}" presName="connTx" presStyleLbl="parChTrans1D3" presStyleIdx="0" presStyleCnt="2"/>
      <dgm:spPr/>
      <dgm:t>
        <a:bodyPr/>
        <a:lstStyle/>
        <a:p>
          <a:endParaRPr lang="nb-NO"/>
        </a:p>
      </dgm:t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2"/>
      <dgm:spPr/>
      <dgm:t>
        <a:bodyPr/>
        <a:lstStyle/>
        <a:p>
          <a:endParaRPr lang="nb-NO"/>
        </a:p>
      </dgm:t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2"/>
      <dgm:spPr/>
      <dgm:t>
        <a:bodyPr/>
        <a:lstStyle/>
        <a:p>
          <a:endParaRPr lang="nb-NO"/>
        </a:p>
      </dgm:t>
    </dgm:pt>
    <dgm:pt modelId="{EA29F95E-15AF-48A6-83F0-794D4C5E302C}" type="pres">
      <dgm:prSet presAssocID="{9DF3BA3D-F408-4101-A4FC-B6CACB2981EF}" presName="connTx" presStyleLbl="parChTrans1D3" presStyleIdx="1" presStyleCnt="2"/>
      <dgm:spPr/>
      <dgm:t>
        <a:bodyPr/>
        <a:lstStyle/>
        <a:p>
          <a:endParaRPr lang="nb-NO"/>
        </a:p>
      </dgm:t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2"/>
      <dgm:spPr/>
      <dgm:t>
        <a:bodyPr/>
        <a:lstStyle/>
        <a:p>
          <a:endParaRPr lang="nb-NO"/>
        </a:p>
      </dgm:t>
    </dgm:pt>
    <dgm:pt modelId="{616C9D17-1CD7-4E03-AA51-6209DF770C50}" type="pres">
      <dgm:prSet presAssocID="{A80DB4F5-681A-46D8-B028-B8248EAD5BA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  <dgm:t>
        <a:bodyPr/>
        <a:lstStyle/>
        <a:p>
          <a:endParaRPr lang="nb-NO"/>
        </a:p>
      </dgm:t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  <dgm:t>
        <a:bodyPr/>
        <a:lstStyle/>
        <a:p>
          <a:endParaRPr lang="nb-NO"/>
        </a:p>
      </dgm:t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  <dgm:t>
        <a:bodyPr/>
        <a:lstStyle/>
        <a:p>
          <a:endParaRPr lang="nb-NO"/>
        </a:p>
      </dgm:t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/</a:t>
          </a:r>
        </a:p>
        <a:p>
          <a:r>
            <a:rPr lang="nb-NO" sz="1400"/>
            <a:t>111111 Ommøblering EPT</a:t>
          </a:r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/>
            <a:t>111111001 Ommøblering EPT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  <dgm:t>
        <a:bodyPr/>
        <a:lstStyle/>
        <a:p>
          <a:endParaRPr lang="nb-NO"/>
        </a:p>
      </dgm:t>
    </dgm:pt>
    <dgm:pt modelId="{54D75276-1A39-47DE-9F78-430842048905}" type="pres">
      <dgm:prSet presAssocID="{3F776734-8251-4DC1-A41E-1310B9C4E0DF}" presName="connTx" presStyleLbl="parChTrans1D2" presStyleIdx="0" presStyleCnt="1"/>
      <dgm:spPr/>
      <dgm:t>
        <a:bodyPr/>
        <a:lstStyle/>
        <a:p>
          <a:endParaRPr lang="nb-NO"/>
        </a:p>
      </dgm:t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  <dgm:t>
        <a:bodyPr/>
        <a:lstStyle/>
        <a:p>
          <a:endParaRPr lang="nb-NO"/>
        </a:p>
      </dgm:t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1"/>
      <dgm:spPr/>
      <dgm:t>
        <a:bodyPr/>
        <a:lstStyle/>
        <a:p>
          <a:endParaRPr lang="nb-NO"/>
        </a:p>
      </dgm:t>
    </dgm:pt>
    <dgm:pt modelId="{A7C50161-927A-47EC-B63B-B8C344690E94}" type="pres">
      <dgm:prSet presAssocID="{794FED05-47DB-45CE-AC08-9990E07312DF}" presName="connTx" presStyleLbl="parChTrans1D3" presStyleIdx="0" presStyleCnt="1"/>
      <dgm:spPr/>
      <dgm:t>
        <a:bodyPr/>
        <a:lstStyle/>
        <a:p>
          <a:endParaRPr lang="nb-NO"/>
        </a:p>
      </dgm:t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1"/>
      <dgm:spPr/>
      <dgm:t>
        <a:bodyPr/>
        <a:lstStyle/>
        <a:p>
          <a:endParaRPr lang="nb-NO"/>
        </a:p>
      </dgm:t>
    </dgm:pt>
    <dgm:pt modelId="{B7FB36E5-4DEE-44D4-A2A0-6C1912C53BC2}" type="pres">
      <dgm:prSet presAssocID="{E8AC750F-2FF6-40E4-8453-D6E0FD024FA1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  <dgm:t>
        <a:bodyPr/>
        <a:lstStyle/>
        <a:p>
          <a:endParaRPr lang="nb-NO"/>
        </a:p>
      </dgm:t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  <dgm:t>
        <a:bodyPr/>
        <a:lstStyle/>
        <a:p>
          <a:endParaRPr lang="nb-NO"/>
        </a:p>
      </dgm:t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  <dgm:t>
        <a:bodyPr/>
        <a:lstStyle/>
        <a:p>
          <a:endParaRPr lang="nb-NO"/>
        </a:p>
      </dgm:t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83C0CA-3FB6-47D7-9DC2-E2C6C524134E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762EF590-160F-420F-9AE1-49883AA928AE}">
      <dgm:prSet phldrT="[Text]"/>
      <dgm:spPr/>
      <dgm:t>
        <a:bodyPr/>
        <a:lstStyle/>
        <a:p>
          <a:r>
            <a:rPr lang="nb-NO"/>
            <a:t>SFI – Center </a:t>
          </a:r>
          <a:r>
            <a:rPr lang="nb-NO" err="1"/>
            <a:t>of</a:t>
          </a:r>
          <a:r>
            <a:rPr lang="nb-NO"/>
            <a:t> </a:t>
          </a:r>
          <a:r>
            <a:rPr lang="nb-NO" err="1"/>
            <a:t>mobility</a:t>
          </a:r>
          <a:endParaRPr lang="nb-NO"/>
        </a:p>
      </dgm:t>
    </dgm:pt>
    <dgm:pt modelId="{01162254-2848-468D-9D3F-B3E1D82D3659}" type="parTrans" cxnId="{A66EE9FA-AA4D-4D47-BB77-2EACB11BC450}">
      <dgm:prSet/>
      <dgm:spPr/>
      <dgm:t>
        <a:bodyPr/>
        <a:lstStyle/>
        <a:p>
          <a:endParaRPr lang="nb-NO"/>
        </a:p>
      </dgm:t>
    </dgm:pt>
    <dgm:pt modelId="{BAF6B390-E4A5-4905-9963-E10E9D044758}" type="sibTrans" cxnId="{A66EE9FA-AA4D-4D47-BB77-2EACB11BC450}">
      <dgm:prSet/>
      <dgm:spPr/>
      <dgm:t>
        <a:bodyPr/>
        <a:lstStyle/>
        <a:p>
          <a:endParaRPr lang="nb-NO"/>
        </a:p>
      </dgm:t>
    </dgm:pt>
    <dgm:pt modelId="{C6C784A2-4A7D-43EF-8E3F-984CEF035ECE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</a:t>
          </a:r>
        </a:p>
      </dgm:t>
    </dgm:pt>
    <dgm:pt modelId="{6F7D707B-F7A3-4832-BE20-1352AD79E0E2}" type="parTrans" cxnId="{F4D63BC3-513A-4C28-BDA1-96CEA16B4165}">
      <dgm:prSet/>
      <dgm:spPr/>
      <dgm:t>
        <a:bodyPr/>
        <a:lstStyle/>
        <a:p>
          <a:endParaRPr lang="nb-NO"/>
        </a:p>
      </dgm:t>
    </dgm:pt>
    <dgm:pt modelId="{8D83A46D-5D2D-4FF3-A4B6-B34629373978}" type="sibTrans" cxnId="{F4D63BC3-513A-4C28-BDA1-96CEA16B4165}">
      <dgm:prSet/>
      <dgm:spPr/>
      <dgm:t>
        <a:bodyPr/>
        <a:lstStyle/>
        <a:p>
          <a:endParaRPr lang="nb-NO"/>
        </a:p>
      </dgm:t>
    </dgm:pt>
    <dgm:pt modelId="{80A6B342-B8A7-47A3-B530-17718B3AAE25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 EU H2020</a:t>
          </a:r>
        </a:p>
      </dgm:t>
    </dgm:pt>
    <dgm:pt modelId="{10C88997-CC8C-4B8C-9053-34A7042019AC}" type="parTrans" cxnId="{0AF0AA52-269F-4B8F-B242-DD43502DC574}">
      <dgm:prSet/>
      <dgm:spPr/>
      <dgm:t>
        <a:bodyPr/>
        <a:lstStyle/>
        <a:p>
          <a:endParaRPr lang="nb-NO"/>
        </a:p>
      </dgm:t>
    </dgm:pt>
    <dgm:pt modelId="{B7CB029D-30ED-4C61-B4C5-6E860BFEA3A2}" type="sibTrans" cxnId="{0AF0AA52-269F-4B8F-B242-DD43502DC574}">
      <dgm:prSet/>
      <dgm:spPr/>
      <dgm:t>
        <a:bodyPr/>
        <a:lstStyle/>
        <a:p>
          <a:endParaRPr lang="nb-NO"/>
        </a:p>
      </dgm:t>
    </dgm:pt>
    <dgm:pt modelId="{EF64ACB9-1F7A-4916-B4F0-BE435D3742E4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 Næringsliv</a:t>
          </a:r>
        </a:p>
      </dgm:t>
    </dgm:pt>
    <dgm:pt modelId="{A65B4E19-7F7C-4C62-B35B-D4DAE3E68C9D}" type="parTrans" cxnId="{118B3EFF-5AC3-43FC-BDDE-88A25025E51C}">
      <dgm:prSet/>
      <dgm:spPr/>
      <dgm:t>
        <a:bodyPr/>
        <a:lstStyle/>
        <a:p>
          <a:endParaRPr lang="nb-NO"/>
        </a:p>
      </dgm:t>
    </dgm:pt>
    <dgm:pt modelId="{1B521E7D-1B57-4291-BA29-03511A0F757D}" type="sibTrans" cxnId="{118B3EFF-5AC3-43FC-BDDE-88A25025E51C}">
      <dgm:prSet/>
      <dgm:spPr/>
      <dgm:t>
        <a:bodyPr/>
        <a:lstStyle/>
        <a:p>
          <a:endParaRPr lang="nb-NO"/>
        </a:p>
      </dgm:t>
    </dgm:pt>
    <dgm:pt modelId="{B767DE2B-E292-44DC-83CE-E777DCBC27A9}">
      <dgm:prSet phldrT="[Text]"/>
      <dgm:spPr/>
      <dgm:t>
        <a:bodyPr/>
        <a:lstStyle/>
        <a:p>
          <a:r>
            <a:rPr lang="nb-NO"/>
            <a:t>PreventIT</a:t>
          </a:r>
        </a:p>
      </dgm:t>
    </dgm:pt>
    <dgm:pt modelId="{8639AA8C-1C31-4664-8882-051BABFCB0CC}" type="parTrans" cxnId="{881ECFAD-2EA4-4858-984D-79ACF6CEC344}">
      <dgm:prSet/>
      <dgm:spPr/>
      <dgm:t>
        <a:bodyPr/>
        <a:lstStyle/>
        <a:p>
          <a:endParaRPr lang="nb-NO"/>
        </a:p>
      </dgm:t>
    </dgm:pt>
    <dgm:pt modelId="{787D14D5-CA57-4913-8AB8-9139D263D5BE}" type="sibTrans" cxnId="{881ECFAD-2EA4-4858-984D-79ACF6CEC344}">
      <dgm:prSet/>
      <dgm:spPr/>
      <dgm:t>
        <a:bodyPr/>
        <a:lstStyle/>
        <a:p>
          <a:endParaRPr lang="nb-NO"/>
        </a:p>
      </dgm:t>
    </dgm:pt>
    <dgm:pt modelId="{8A38C172-9915-4896-A26A-F89FE44C83B9}">
      <dgm:prSet phldrT="[Text]"/>
      <dgm:spPr/>
      <dgm:t>
        <a:bodyPr/>
        <a:lstStyle/>
        <a:p>
          <a:r>
            <a:rPr lang="nb-NO"/>
            <a:t>PreventIT EU H2020</a:t>
          </a:r>
        </a:p>
      </dgm:t>
    </dgm:pt>
    <dgm:pt modelId="{A5F253EE-3E89-4503-89B1-870630F1BD1F}" type="parTrans" cxnId="{B14E9A79-9D56-4603-BAE6-0958224DF47F}">
      <dgm:prSet/>
      <dgm:spPr/>
      <dgm:t>
        <a:bodyPr/>
        <a:lstStyle/>
        <a:p>
          <a:endParaRPr lang="nb-NO"/>
        </a:p>
      </dgm:t>
    </dgm:pt>
    <dgm:pt modelId="{3361B378-021C-4F93-BEC5-1983A1225D3F}" type="sibTrans" cxnId="{B14E9A79-9D56-4603-BAE6-0958224DF47F}">
      <dgm:prSet/>
      <dgm:spPr/>
      <dgm:t>
        <a:bodyPr/>
        <a:lstStyle/>
        <a:p>
          <a:endParaRPr lang="nb-NO"/>
        </a:p>
      </dgm:t>
    </dgm:pt>
    <dgm:pt modelId="{36A70192-87D1-4539-BBC7-D48A2D0C89D9}">
      <dgm:prSet phldrT="[Text]"/>
      <dgm:spPr/>
      <dgm:t>
        <a:bodyPr/>
        <a:lstStyle/>
        <a:p>
          <a:r>
            <a:rPr lang="nb-NO"/>
            <a:t>Hovedprosjekt</a:t>
          </a:r>
        </a:p>
      </dgm:t>
    </dgm:pt>
    <dgm:pt modelId="{202BE64C-E5A6-4383-BFB2-9BA6F4438CCC}" type="parTrans" cxnId="{65E566E5-75EF-4D84-B6F2-9B9C8BB7BFB3}">
      <dgm:prSet/>
      <dgm:spPr/>
      <dgm:t>
        <a:bodyPr/>
        <a:lstStyle/>
        <a:p>
          <a:endParaRPr lang="nb-NO"/>
        </a:p>
      </dgm:t>
    </dgm:pt>
    <dgm:pt modelId="{020F2221-9E53-437F-A3B4-F5C2E82D79C8}" type="sibTrans" cxnId="{65E566E5-75EF-4D84-B6F2-9B9C8BB7BFB3}">
      <dgm:prSet/>
      <dgm:spPr/>
      <dgm:t>
        <a:bodyPr/>
        <a:lstStyle/>
        <a:p>
          <a:endParaRPr lang="nb-NO"/>
        </a:p>
      </dgm:t>
    </dgm:pt>
    <dgm:pt modelId="{59CC6260-C883-4665-9988-77AE7AE67A81}">
      <dgm:prSet phldrT="[Text]"/>
      <dgm:spPr/>
      <dgm:t>
        <a:bodyPr/>
        <a:lstStyle/>
        <a:p>
          <a:r>
            <a:rPr lang="nb-NO"/>
            <a:t>Prosjekt</a:t>
          </a:r>
        </a:p>
      </dgm:t>
    </dgm:pt>
    <dgm:pt modelId="{C0095768-6CF2-46EC-AE9D-0EF09AA26C46}" type="parTrans" cxnId="{092B1F5A-985D-4AA7-9BC6-59215BAC8837}">
      <dgm:prSet/>
      <dgm:spPr/>
      <dgm:t>
        <a:bodyPr/>
        <a:lstStyle/>
        <a:p>
          <a:endParaRPr lang="nb-NO"/>
        </a:p>
      </dgm:t>
    </dgm:pt>
    <dgm:pt modelId="{3967ACEC-70FB-4BCE-8C80-58BCD7CE55D0}" type="sibTrans" cxnId="{092B1F5A-985D-4AA7-9BC6-59215BAC8837}">
      <dgm:prSet/>
      <dgm:spPr/>
      <dgm:t>
        <a:bodyPr/>
        <a:lstStyle/>
        <a:p>
          <a:endParaRPr lang="nb-NO"/>
        </a:p>
      </dgm:t>
    </dgm:pt>
    <dgm:pt modelId="{AD75AA9B-61F9-4782-9667-2016054E002F}">
      <dgm:prSet phldrT="[Text]"/>
      <dgm:spPr/>
      <dgm:t>
        <a:bodyPr/>
        <a:lstStyle/>
        <a:p>
          <a:r>
            <a:rPr lang="nb-NO"/>
            <a:t>Delprosjekt</a:t>
          </a:r>
        </a:p>
      </dgm:t>
    </dgm:pt>
    <dgm:pt modelId="{DE4AF088-E188-4841-8D66-9F8D3127C0D0}" type="parTrans" cxnId="{F2B1FCB4-4716-46AC-B966-A89E82170800}">
      <dgm:prSet/>
      <dgm:spPr/>
      <dgm:t>
        <a:bodyPr/>
        <a:lstStyle/>
        <a:p>
          <a:endParaRPr lang="nb-NO"/>
        </a:p>
      </dgm:t>
    </dgm:pt>
    <dgm:pt modelId="{D8ECF68D-41C1-4481-BA71-51DF3CBA8583}" type="sibTrans" cxnId="{F2B1FCB4-4716-46AC-B966-A89E82170800}">
      <dgm:prSet/>
      <dgm:spPr/>
      <dgm:t>
        <a:bodyPr/>
        <a:lstStyle/>
        <a:p>
          <a:endParaRPr lang="nb-NO"/>
        </a:p>
      </dgm:t>
    </dgm:pt>
    <dgm:pt modelId="{4D801C41-E2EC-4903-BB40-585239280C9B}">
      <dgm:prSet phldrT="[Text]"/>
      <dgm:spPr/>
      <dgm:t>
        <a:bodyPr/>
        <a:lstStyle/>
        <a:p>
          <a:r>
            <a:rPr lang="nb-NO"/>
            <a:t>Arbeidspakke</a:t>
          </a:r>
        </a:p>
      </dgm:t>
    </dgm:pt>
    <dgm:pt modelId="{7FED8FF8-9638-4BA6-BC77-3E08E886765D}" type="parTrans" cxnId="{ECEC449C-B935-4756-88ED-9C4225E98EF2}">
      <dgm:prSet/>
      <dgm:spPr/>
      <dgm:t>
        <a:bodyPr/>
        <a:lstStyle/>
        <a:p>
          <a:endParaRPr lang="nb-NO"/>
        </a:p>
      </dgm:t>
    </dgm:pt>
    <dgm:pt modelId="{1DBC3AC0-8429-4395-9959-10FBCA67C6FB}" type="sibTrans" cxnId="{ECEC449C-B935-4756-88ED-9C4225E98EF2}">
      <dgm:prSet/>
      <dgm:spPr/>
      <dgm:t>
        <a:bodyPr/>
        <a:lstStyle/>
        <a:p>
          <a:endParaRPr lang="nb-NO"/>
        </a:p>
      </dgm:t>
    </dgm:pt>
    <dgm:pt modelId="{9520B4B4-2947-4A1D-A27E-B45600700ECC}">
      <dgm:prSet phldrT="[Text]"/>
      <dgm:spPr/>
      <dgm:t>
        <a:bodyPr/>
        <a:lstStyle/>
        <a:p>
          <a:r>
            <a:rPr lang="nb-NO"/>
            <a:t>WP1</a:t>
          </a:r>
        </a:p>
      </dgm:t>
    </dgm:pt>
    <dgm:pt modelId="{AC4F6EAA-738D-43AF-BAEB-0AD9EC1FC858}" type="parTrans" cxnId="{2C81549B-4DD0-4BF0-9B9C-892414C7E29E}">
      <dgm:prSet/>
      <dgm:spPr/>
      <dgm:t>
        <a:bodyPr/>
        <a:lstStyle/>
        <a:p>
          <a:endParaRPr lang="nb-NO"/>
        </a:p>
      </dgm:t>
    </dgm:pt>
    <dgm:pt modelId="{6AED8FDF-8460-447A-93FF-4FFAFC85DD5E}" type="sibTrans" cxnId="{2C81549B-4DD0-4BF0-9B9C-892414C7E29E}">
      <dgm:prSet/>
      <dgm:spPr/>
      <dgm:t>
        <a:bodyPr/>
        <a:lstStyle/>
        <a:p>
          <a:endParaRPr lang="nb-NO"/>
        </a:p>
      </dgm:t>
    </dgm:pt>
    <dgm:pt modelId="{80529097-2085-498F-BB8D-0B41E7DC0CB1}">
      <dgm:prSet phldrT="[Text]"/>
      <dgm:spPr/>
      <dgm:t>
        <a:bodyPr/>
        <a:lstStyle/>
        <a:p>
          <a:r>
            <a:rPr lang="nb-NO"/>
            <a:t>WP2</a:t>
          </a:r>
        </a:p>
      </dgm:t>
    </dgm:pt>
    <dgm:pt modelId="{45A06BB2-8211-4402-98E7-A40644B4442B}" type="parTrans" cxnId="{FFB52BD3-7F04-461B-B73C-F88EB19B7E17}">
      <dgm:prSet/>
      <dgm:spPr/>
      <dgm:t>
        <a:bodyPr/>
        <a:lstStyle/>
        <a:p>
          <a:endParaRPr lang="nb-NO"/>
        </a:p>
      </dgm:t>
    </dgm:pt>
    <dgm:pt modelId="{DDDEBDE5-B6B8-4376-81B6-63DFA9A7A462}" type="sibTrans" cxnId="{FFB52BD3-7F04-461B-B73C-F88EB19B7E17}">
      <dgm:prSet/>
      <dgm:spPr/>
      <dgm:t>
        <a:bodyPr/>
        <a:lstStyle/>
        <a:p>
          <a:endParaRPr lang="nb-NO"/>
        </a:p>
      </dgm:t>
    </dgm:pt>
    <dgm:pt modelId="{D3A3D984-39A3-423C-A139-B7F39E3E0383}">
      <dgm:prSet phldrT="[Text]"/>
      <dgm:spPr/>
      <dgm:t>
        <a:bodyPr/>
        <a:lstStyle/>
        <a:p>
          <a:r>
            <a:rPr lang="nb-NO"/>
            <a:t>WP3</a:t>
          </a:r>
        </a:p>
      </dgm:t>
    </dgm:pt>
    <dgm:pt modelId="{21826128-BEE0-49F3-99A7-4DF3413A60CD}" type="parTrans" cxnId="{1BF7C81F-0971-413D-9770-C9FD60434F43}">
      <dgm:prSet/>
      <dgm:spPr/>
      <dgm:t>
        <a:bodyPr/>
        <a:lstStyle/>
        <a:p>
          <a:endParaRPr lang="nb-NO"/>
        </a:p>
      </dgm:t>
    </dgm:pt>
    <dgm:pt modelId="{6CB36300-7D04-4BE3-B2E8-F71A18A842F3}" type="sibTrans" cxnId="{1BF7C81F-0971-413D-9770-C9FD60434F43}">
      <dgm:prSet/>
      <dgm:spPr/>
      <dgm:t>
        <a:bodyPr/>
        <a:lstStyle/>
        <a:p>
          <a:endParaRPr lang="nb-NO"/>
        </a:p>
      </dgm:t>
    </dgm:pt>
    <dgm:pt modelId="{8B7C4C73-6687-447B-8EAD-D90394A9E6C9}">
      <dgm:prSet phldrT="[Text]"/>
      <dgm:spPr/>
      <dgm:t>
        <a:bodyPr/>
        <a:lstStyle/>
        <a:p>
          <a:r>
            <a:rPr lang="nb-NO"/>
            <a:t>WP1</a:t>
          </a:r>
        </a:p>
      </dgm:t>
    </dgm:pt>
    <dgm:pt modelId="{87132082-39E0-4D32-BB59-F415D75C5DA8}" type="parTrans" cxnId="{720F0E4B-618B-4C2E-91B2-3D222E842677}">
      <dgm:prSet/>
      <dgm:spPr/>
      <dgm:t>
        <a:bodyPr/>
        <a:lstStyle/>
        <a:p>
          <a:endParaRPr lang="nb-NO"/>
        </a:p>
      </dgm:t>
    </dgm:pt>
    <dgm:pt modelId="{01047AC3-D8DA-4BCF-8DF6-87C35206A95F}" type="sibTrans" cxnId="{720F0E4B-618B-4C2E-91B2-3D222E842677}">
      <dgm:prSet/>
      <dgm:spPr/>
      <dgm:t>
        <a:bodyPr/>
        <a:lstStyle/>
        <a:p>
          <a:endParaRPr lang="nb-NO"/>
        </a:p>
      </dgm:t>
    </dgm:pt>
    <dgm:pt modelId="{D5FD73B7-0B9D-4C27-8508-6398D37228B2}">
      <dgm:prSet phldrT="[Text]"/>
      <dgm:spPr/>
      <dgm:t>
        <a:bodyPr/>
        <a:lstStyle/>
        <a:p>
          <a:r>
            <a:rPr lang="nb-NO"/>
            <a:t>WP2</a:t>
          </a:r>
        </a:p>
      </dgm:t>
    </dgm:pt>
    <dgm:pt modelId="{FA151C5C-0DBC-41B0-B21F-00D23E5E57C8}" type="parTrans" cxnId="{0986F77D-CCAF-4E62-A7CA-A77342330025}">
      <dgm:prSet/>
      <dgm:spPr/>
      <dgm:t>
        <a:bodyPr/>
        <a:lstStyle/>
        <a:p>
          <a:endParaRPr lang="nb-NO"/>
        </a:p>
      </dgm:t>
    </dgm:pt>
    <dgm:pt modelId="{A6452CEB-BA4C-4398-8CED-378C69105C80}" type="sibTrans" cxnId="{0986F77D-CCAF-4E62-A7CA-A77342330025}">
      <dgm:prSet/>
      <dgm:spPr/>
      <dgm:t>
        <a:bodyPr/>
        <a:lstStyle/>
        <a:p>
          <a:endParaRPr lang="nb-NO"/>
        </a:p>
      </dgm:t>
    </dgm:pt>
    <dgm:pt modelId="{17301840-3C25-4C48-9B1E-0B527F7C6620}">
      <dgm:prSet phldrT="[Text]"/>
      <dgm:spPr/>
      <dgm:t>
        <a:bodyPr/>
        <a:lstStyle/>
        <a:p>
          <a:r>
            <a:rPr lang="nb-NO" err="1"/>
            <a:t>Exergaming</a:t>
          </a:r>
          <a:r>
            <a:rPr lang="nb-NO"/>
            <a:t> for </a:t>
          </a:r>
          <a:r>
            <a:rPr lang="nb-NO" err="1"/>
            <a:t>active</a:t>
          </a:r>
          <a:r>
            <a:rPr lang="nb-NO"/>
            <a:t> </a:t>
          </a:r>
          <a:r>
            <a:rPr lang="nb-NO" err="1"/>
            <a:t>aging</a:t>
          </a:r>
          <a:endParaRPr lang="nb-NO"/>
        </a:p>
      </dgm:t>
    </dgm:pt>
    <dgm:pt modelId="{E89406DB-6BA2-4199-9F2F-35836B10189D}" type="parTrans" cxnId="{89AA4893-0AC2-4070-8F02-7A26A3F7F542}">
      <dgm:prSet/>
      <dgm:spPr/>
      <dgm:t>
        <a:bodyPr/>
        <a:lstStyle/>
        <a:p>
          <a:endParaRPr lang="nb-NO"/>
        </a:p>
      </dgm:t>
    </dgm:pt>
    <dgm:pt modelId="{AC7937FC-0BDA-46FE-8D57-9E132C927F08}" type="sibTrans" cxnId="{89AA4893-0AC2-4070-8F02-7A26A3F7F542}">
      <dgm:prSet/>
      <dgm:spPr/>
      <dgm:t>
        <a:bodyPr/>
        <a:lstStyle/>
        <a:p>
          <a:endParaRPr lang="nb-NO"/>
        </a:p>
      </dgm:t>
    </dgm:pt>
    <dgm:pt modelId="{DD5DB054-6068-49F9-B927-B36701652B71}">
      <dgm:prSet phldrT="[Text]"/>
      <dgm:spPr/>
      <dgm:t>
        <a:bodyPr/>
        <a:lstStyle/>
        <a:p>
          <a:r>
            <a:rPr lang="nb-NO" err="1"/>
            <a:t>Exergaming</a:t>
          </a:r>
          <a:r>
            <a:rPr lang="nb-NO"/>
            <a:t> EU FP7</a:t>
          </a:r>
        </a:p>
      </dgm:t>
    </dgm:pt>
    <dgm:pt modelId="{57F18DAB-FCBC-4499-B9D6-78E2D4446305}" type="parTrans" cxnId="{9D319C39-A300-4BFD-9853-83D88567D8E1}">
      <dgm:prSet/>
      <dgm:spPr/>
      <dgm:t>
        <a:bodyPr/>
        <a:lstStyle/>
        <a:p>
          <a:endParaRPr lang="nb-NO"/>
        </a:p>
      </dgm:t>
    </dgm:pt>
    <dgm:pt modelId="{B9BD17BF-02D8-41DF-AD07-9045EA7710B3}" type="sibTrans" cxnId="{9D319C39-A300-4BFD-9853-83D88567D8E1}">
      <dgm:prSet/>
      <dgm:spPr/>
      <dgm:t>
        <a:bodyPr/>
        <a:lstStyle/>
        <a:p>
          <a:endParaRPr lang="nb-NO"/>
        </a:p>
      </dgm:t>
    </dgm:pt>
    <dgm:pt modelId="{EB42CA00-9262-44E8-AADD-B06E5EF0DBCA}" type="pres">
      <dgm:prSet presAssocID="{9083C0CA-3FB6-47D7-9DC2-E2C6C524134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7F244006-027F-47D1-985E-F9CC3A375B7B}" type="pres">
      <dgm:prSet presAssocID="{9083C0CA-3FB6-47D7-9DC2-E2C6C524134E}" presName="hierFlow" presStyleCnt="0"/>
      <dgm:spPr/>
    </dgm:pt>
    <dgm:pt modelId="{BE7FA140-75F1-468B-8E1C-C2EF74552FF4}" type="pres">
      <dgm:prSet presAssocID="{9083C0CA-3FB6-47D7-9DC2-E2C6C524134E}" presName="firstBuf" presStyleCnt="0"/>
      <dgm:spPr/>
    </dgm:pt>
    <dgm:pt modelId="{CEE6A8FF-2F9B-4400-A062-A4077AE000FA}" type="pres">
      <dgm:prSet presAssocID="{9083C0CA-3FB6-47D7-9DC2-E2C6C524134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0AECA72-C954-43BD-901A-CD5E00F536AD}" type="pres">
      <dgm:prSet presAssocID="{762EF590-160F-420F-9AE1-49883AA928AE}" presName="Name17" presStyleCnt="0"/>
      <dgm:spPr/>
    </dgm:pt>
    <dgm:pt modelId="{F91660F9-9DA9-4BCC-BFF0-439EB06AE054}" type="pres">
      <dgm:prSet presAssocID="{762EF590-160F-420F-9AE1-49883AA928AE}" presName="level1Shape" presStyleLbl="node0" presStyleIdx="0" presStyleCnt="1" custScaleY="346080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2E5DF35B-15FC-48E8-8946-1C41EDDA5DD4}" type="pres">
      <dgm:prSet presAssocID="{762EF590-160F-420F-9AE1-49883AA928AE}" presName="hierChild2" presStyleCnt="0"/>
      <dgm:spPr/>
    </dgm:pt>
    <dgm:pt modelId="{C6498F3A-E144-4EA7-8583-38A843F262DC}" type="pres">
      <dgm:prSet presAssocID="{6F7D707B-F7A3-4832-BE20-1352AD79E0E2}" presName="Name25" presStyleLbl="parChTrans1D2" presStyleIdx="0" presStyleCnt="3"/>
      <dgm:spPr/>
      <dgm:t>
        <a:bodyPr/>
        <a:lstStyle/>
        <a:p>
          <a:endParaRPr lang="nb-NO"/>
        </a:p>
      </dgm:t>
    </dgm:pt>
    <dgm:pt modelId="{245EF6D8-6C8D-4151-9528-206752E7FFA9}" type="pres">
      <dgm:prSet presAssocID="{6F7D707B-F7A3-4832-BE20-1352AD79E0E2}" presName="connTx" presStyleLbl="parChTrans1D2" presStyleIdx="0" presStyleCnt="3"/>
      <dgm:spPr/>
      <dgm:t>
        <a:bodyPr/>
        <a:lstStyle/>
        <a:p>
          <a:endParaRPr lang="nb-NO"/>
        </a:p>
      </dgm:t>
    </dgm:pt>
    <dgm:pt modelId="{F0A850C1-0246-4FCD-BFCB-4C4618571A15}" type="pres">
      <dgm:prSet presAssocID="{C6C784A2-4A7D-43EF-8E3F-984CEF035ECE}" presName="Name30" presStyleCnt="0"/>
      <dgm:spPr/>
    </dgm:pt>
    <dgm:pt modelId="{9C373FCA-D79C-44D5-9300-9CFC761AA81C}" type="pres">
      <dgm:prSet presAssocID="{C6C784A2-4A7D-43EF-8E3F-984CEF035ECE}" presName="level2Shape" presStyleLbl="node2" presStyleIdx="0" presStyleCnt="3" custScaleY="176380"/>
      <dgm:spPr/>
      <dgm:t>
        <a:bodyPr/>
        <a:lstStyle/>
        <a:p>
          <a:endParaRPr lang="nb-NO"/>
        </a:p>
      </dgm:t>
    </dgm:pt>
    <dgm:pt modelId="{37311B4B-76CC-404A-A442-770C06213E2F}" type="pres">
      <dgm:prSet presAssocID="{C6C784A2-4A7D-43EF-8E3F-984CEF035ECE}" presName="hierChild3" presStyleCnt="0"/>
      <dgm:spPr/>
    </dgm:pt>
    <dgm:pt modelId="{2EFC976A-E189-42FD-A925-E7416E513E1E}" type="pres">
      <dgm:prSet presAssocID="{10C88997-CC8C-4B8C-9053-34A7042019AC}" presName="Name25" presStyleLbl="parChTrans1D3" presStyleIdx="0" presStyleCnt="4"/>
      <dgm:spPr/>
      <dgm:t>
        <a:bodyPr/>
        <a:lstStyle/>
        <a:p>
          <a:endParaRPr lang="nb-NO"/>
        </a:p>
      </dgm:t>
    </dgm:pt>
    <dgm:pt modelId="{A6B2D96E-6EE8-4A4F-B714-6C0D69619469}" type="pres">
      <dgm:prSet presAssocID="{10C88997-CC8C-4B8C-9053-34A7042019AC}" presName="connTx" presStyleLbl="parChTrans1D3" presStyleIdx="0" presStyleCnt="4"/>
      <dgm:spPr/>
      <dgm:t>
        <a:bodyPr/>
        <a:lstStyle/>
        <a:p>
          <a:endParaRPr lang="nb-NO"/>
        </a:p>
      </dgm:t>
    </dgm:pt>
    <dgm:pt modelId="{7A40B749-5034-4B2D-B247-6FFA187F86CD}" type="pres">
      <dgm:prSet presAssocID="{80A6B342-B8A7-47A3-B530-17718B3AAE25}" presName="Name30" presStyleCnt="0"/>
      <dgm:spPr/>
    </dgm:pt>
    <dgm:pt modelId="{1840529B-EB1A-49D8-A620-57054FC55365}" type="pres">
      <dgm:prSet presAssocID="{80A6B342-B8A7-47A3-B530-17718B3AAE25}" presName="level2Shape" presStyleLbl="node3" presStyleIdx="0" presStyleCnt="4"/>
      <dgm:spPr/>
      <dgm:t>
        <a:bodyPr/>
        <a:lstStyle/>
        <a:p>
          <a:endParaRPr lang="nb-NO"/>
        </a:p>
      </dgm:t>
    </dgm:pt>
    <dgm:pt modelId="{9955EA75-6B6E-4402-A2B6-DB8E7AF9E398}" type="pres">
      <dgm:prSet presAssocID="{80A6B342-B8A7-47A3-B530-17718B3AAE25}" presName="hierChild3" presStyleCnt="0"/>
      <dgm:spPr/>
    </dgm:pt>
    <dgm:pt modelId="{B5DE5F4C-4E3F-4757-9D9B-D92B8CBCB1D1}" type="pres">
      <dgm:prSet presAssocID="{AC4F6EAA-738D-43AF-BAEB-0AD9EC1FC858}" presName="Name25" presStyleLbl="parChTrans1D4" presStyleIdx="0" presStyleCnt="5"/>
      <dgm:spPr/>
      <dgm:t>
        <a:bodyPr/>
        <a:lstStyle/>
        <a:p>
          <a:endParaRPr lang="nb-NO"/>
        </a:p>
      </dgm:t>
    </dgm:pt>
    <dgm:pt modelId="{8AEB59F5-A27A-456F-BF44-FDC8C7CBEC68}" type="pres">
      <dgm:prSet presAssocID="{AC4F6EAA-738D-43AF-BAEB-0AD9EC1FC858}" presName="connTx" presStyleLbl="parChTrans1D4" presStyleIdx="0" presStyleCnt="5"/>
      <dgm:spPr/>
      <dgm:t>
        <a:bodyPr/>
        <a:lstStyle/>
        <a:p>
          <a:endParaRPr lang="nb-NO"/>
        </a:p>
      </dgm:t>
    </dgm:pt>
    <dgm:pt modelId="{6814AA66-9531-4FF3-992C-5DCB705AF926}" type="pres">
      <dgm:prSet presAssocID="{9520B4B4-2947-4A1D-A27E-B45600700ECC}" presName="Name30" presStyleCnt="0"/>
      <dgm:spPr/>
    </dgm:pt>
    <dgm:pt modelId="{A5B62940-8BF5-480D-AAC2-029B26C16C98}" type="pres">
      <dgm:prSet presAssocID="{9520B4B4-2947-4A1D-A27E-B45600700ECC}" presName="level2Shape" presStyleLbl="node4" presStyleIdx="0" presStyleCnt="5"/>
      <dgm:spPr/>
      <dgm:t>
        <a:bodyPr/>
        <a:lstStyle/>
        <a:p>
          <a:endParaRPr lang="nb-NO"/>
        </a:p>
      </dgm:t>
    </dgm:pt>
    <dgm:pt modelId="{F72FBE64-393E-4624-AD8C-1A9A7AF8CC6E}" type="pres">
      <dgm:prSet presAssocID="{9520B4B4-2947-4A1D-A27E-B45600700ECC}" presName="hierChild3" presStyleCnt="0"/>
      <dgm:spPr/>
    </dgm:pt>
    <dgm:pt modelId="{01A08821-9AAF-4562-B87B-1A54E677CDF0}" type="pres">
      <dgm:prSet presAssocID="{45A06BB2-8211-4402-98E7-A40644B4442B}" presName="Name25" presStyleLbl="parChTrans1D4" presStyleIdx="1" presStyleCnt="5"/>
      <dgm:spPr/>
      <dgm:t>
        <a:bodyPr/>
        <a:lstStyle/>
        <a:p>
          <a:endParaRPr lang="nb-NO"/>
        </a:p>
      </dgm:t>
    </dgm:pt>
    <dgm:pt modelId="{C0A196D2-B07A-4D20-A150-B2C94A87F79E}" type="pres">
      <dgm:prSet presAssocID="{45A06BB2-8211-4402-98E7-A40644B4442B}" presName="connTx" presStyleLbl="parChTrans1D4" presStyleIdx="1" presStyleCnt="5"/>
      <dgm:spPr/>
      <dgm:t>
        <a:bodyPr/>
        <a:lstStyle/>
        <a:p>
          <a:endParaRPr lang="nb-NO"/>
        </a:p>
      </dgm:t>
    </dgm:pt>
    <dgm:pt modelId="{113C5CA6-A700-497C-8A52-48A7C7CDD820}" type="pres">
      <dgm:prSet presAssocID="{80529097-2085-498F-BB8D-0B41E7DC0CB1}" presName="Name30" presStyleCnt="0"/>
      <dgm:spPr/>
    </dgm:pt>
    <dgm:pt modelId="{59F93108-6DBB-4166-8184-49AF43B15928}" type="pres">
      <dgm:prSet presAssocID="{80529097-2085-498F-BB8D-0B41E7DC0CB1}" presName="level2Shape" presStyleLbl="node4" presStyleIdx="1" presStyleCnt="5"/>
      <dgm:spPr/>
      <dgm:t>
        <a:bodyPr/>
        <a:lstStyle/>
        <a:p>
          <a:endParaRPr lang="nb-NO"/>
        </a:p>
      </dgm:t>
    </dgm:pt>
    <dgm:pt modelId="{EEAFE133-6948-4C6F-8231-79E6EBDD9ED3}" type="pres">
      <dgm:prSet presAssocID="{80529097-2085-498F-BB8D-0B41E7DC0CB1}" presName="hierChild3" presStyleCnt="0"/>
      <dgm:spPr/>
    </dgm:pt>
    <dgm:pt modelId="{7C4F2FFA-A89D-4D85-8425-9537B2337633}" type="pres">
      <dgm:prSet presAssocID="{21826128-BEE0-49F3-99A7-4DF3413A60CD}" presName="Name25" presStyleLbl="parChTrans1D4" presStyleIdx="2" presStyleCnt="5"/>
      <dgm:spPr/>
      <dgm:t>
        <a:bodyPr/>
        <a:lstStyle/>
        <a:p>
          <a:endParaRPr lang="nb-NO"/>
        </a:p>
      </dgm:t>
    </dgm:pt>
    <dgm:pt modelId="{B476407D-99CA-4F80-9642-BA5ED0D89D98}" type="pres">
      <dgm:prSet presAssocID="{21826128-BEE0-49F3-99A7-4DF3413A60CD}" presName="connTx" presStyleLbl="parChTrans1D4" presStyleIdx="2" presStyleCnt="5"/>
      <dgm:spPr/>
      <dgm:t>
        <a:bodyPr/>
        <a:lstStyle/>
        <a:p>
          <a:endParaRPr lang="nb-NO"/>
        </a:p>
      </dgm:t>
    </dgm:pt>
    <dgm:pt modelId="{8D9B375E-073B-4E67-8938-4B08067452A5}" type="pres">
      <dgm:prSet presAssocID="{D3A3D984-39A3-423C-A139-B7F39E3E0383}" presName="Name30" presStyleCnt="0"/>
      <dgm:spPr/>
    </dgm:pt>
    <dgm:pt modelId="{35EDD057-D0E6-4721-A13F-5474F1075904}" type="pres">
      <dgm:prSet presAssocID="{D3A3D984-39A3-423C-A139-B7F39E3E0383}" presName="level2Shape" presStyleLbl="node4" presStyleIdx="2" presStyleCnt="5"/>
      <dgm:spPr/>
      <dgm:t>
        <a:bodyPr/>
        <a:lstStyle/>
        <a:p>
          <a:endParaRPr lang="nb-NO"/>
        </a:p>
      </dgm:t>
    </dgm:pt>
    <dgm:pt modelId="{A00D8E38-F1C3-427B-AEC9-B91BCBFC2369}" type="pres">
      <dgm:prSet presAssocID="{D3A3D984-39A3-423C-A139-B7F39E3E0383}" presName="hierChild3" presStyleCnt="0"/>
      <dgm:spPr/>
    </dgm:pt>
    <dgm:pt modelId="{16069183-BA56-4ABB-A35C-1A9ACFCC121E}" type="pres">
      <dgm:prSet presAssocID="{A65B4E19-7F7C-4C62-B35B-D4DAE3E68C9D}" presName="Name25" presStyleLbl="parChTrans1D3" presStyleIdx="1" presStyleCnt="4"/>
      <dgm:spPr/>
      <dgm:t>
        <a:bodyPr/>
        <a:lstStyle/>
        <a:p>
          <a:endParaRPr lang="nb-NO"/>
        </a:p>
      </dgm:t>
    </dgm:pt>
    <dgm:pt modelId="{B73FAD14-B540-4837-A746-15F62D4C77AC}" type="pres">
      <dgm:prSet presAssocID="{A65B4E19-7F7C-4C62-B35B-D4DAE3E68C9D}" presName="connTx" presStyleLbl="parChTrans1D3" presStyleIdx="1" presStyleCnt="4"/>
      <dgm:spPr/>
      <dgm:t>
        <a:bodyPr/>
        <a:lstStyle/>
        <a:p>
          <a:endParaRPr lang="nb-NO"/>
        </a:p>
      </dgm:t>
    </dgm:pt>
    <dgm:pt modelId="{CF4ACF99-008F-4471-BF66-1C3925176A4C}" type="pres">
      <dgm:prSet presAssocID="{EF64ACB9-1F7A-4916-B4F0-BE435D3742E4}" presName="Name30" presStyleCnt="0"/>
      <dgm:spPr/>
    </dgm:pt>
    <dgm:pt modelId="{963C06EB-65B1-43EE-8802-EED0862D045B}" type="pres">
      <dgm:prSet presAssocID="{EF64ACB9-1F7A-4916-B4F0-BE435D3742E4}" presName="level2Shape" presStyleLbl="node3" presStyleIdx="1" presStyleCnt="4"/>
      <dgm:spPr/>
      <dgm:t>
        <a:bodyPr/>
        <a:lstStyle/>
        <a:p>
          <a:endParaRPr lang="nb-NO"/>
        </a:p>
      </dgm:t>
    </dgm:pt>
    <dgm:pt modelId="{82C8697E-2BB1-425F-8D19-6094B271E082}" type="pres">
      <dgm:prSet presAssocID="{EF64ACB9-1F7A-4916-B4F0-BE435D3742E4}" presName="hierChild3" presStyleCnt="0"/>
      <dgm:spPr/>
    </dgm:pt>
    <dgm:pt modelId="{7D2594EB-30C5-4A0B-8F2C-F2E26791F7A1}" type="pres">
      <dgm:prSet presAssocID="{8639AA8C-1C31-4664-8882-051BABFCB0CC}" presName="Name25" presStyleLbl="parChTrans1D2" presStyleIdx="1" presStyleCnt="3"/>
      <dgm:spPr/>
      <dgm:t>
        <a:bodyPr/>
        <a:lstStyle/>
        <a:p>
          <a:endParaRPr lang="nb-NO"/>
        </a:p>
      </dgm:t>
    </dgm:pt>
    <dgm:pt modelId="{C9D0DD3C-8492-48B7-AFEE-C38D9F957FD4}" type="pres">
      <dgm:prSet presAssocID="{8639AA8C-1C31-4664-8882-051BABFCB0CC}" presName="connTx" presStyleLbl="parChTrans1D2" presStyleIdx="1" presStyleCnt="3"/>
      <dgm:spPr/>
      <dgm:t>
        <a:bodyPr/>
        <a:lstStyle/>
        <a:p>
          <a:endParaRPr lang="nb-NO"/>
        </a:p>
      </dgm:t>
    </dgm:pt>
    <dgm:pt modelId="{54384C5B-E4AD-4771-83CA-EB7A8D18B623}" type="pres">
      <dgm:prSet presAssocID="{B767DE2B-E292-44DC-83CE-E777DCBC27A9}" presName="Name30" presStyleCnt="0"/>
      <dgm:spPr/>
    </dgm:pt>
    <dgm:pt modelId="{C5BCC7EC-A6F5-4627-BC6A-4BC838552146}" type="pres">
      <dgm:prSet presAssocID="{B767DE2B-E292-44DC-83CE-E777DCBC27A9}" presName="level2Shape" presStyleLbl="node2" presStyleIdx="1" presStyleCnt="3" custScaleY="240870"/>
      <dgm:spPr/>
      <dgm:t>
        <a:bodyPr/>
        <a:lstStyle/>
        <a:p>
          <a:endParaRPr lang="nb-NO"/>
        </a:p>
      </dgm:t>
    </dgm:pt>
    <dgm:pt modelId="{A06EC4D9-5BD4-4528-9E4F-C98D1AD806A4}" type="pres">
      <dgm:prSet presAssocID="{B767DE2B-E292-44DC-83CE-E777DCBC27A9}" presName="hierChild3" presStyleCnt="0"/>
      <dgm:spPr/>
    </dgm:pt>
    <dgm:pt modelId="{A156A696-0C1B-4F09-B916-BD5469990C82}" type="pres">
      <dgm:prSet presAssocID="{A5F253EE-3E89-4503-89B1-870630F1BD1F}" presName="Name25" presStyleLbl="parChTrans1D3" presStyleIdx="2" presStyleCnt="4"/>
      <dgm:spPr/>
      <dgm:t>
        <a:bodyPr/>
        <a:lstStyle/>
        <a:p>
          <a:endParaRPr lang="nb-NO"/>
        </a:p>
      </dgm:t>
    </dgm:pt>
    <dgm:pt modelId="{4BB7E337-7BD3-4BA9-BF71-7485A8FCE54F}" type="pres">
      <dgm:prSet presAssocID="{A5F253EE-3E89-4503-89B1-870630F1BD1F}" presName="connTx" presStyleLbl="parChTrans1D3" presStyleIdx="2" presStyleCnt="4"/>
      <dgm:spPr/>
      <dgm:t>
        <a:bodyPr/>
        <a:lstStyle/>
        <a:p>
          <a:endParaRPr lang="nb-NO"/>
        </a:p>
      </dgm:t>
    </dgm:pt>
    <dgm:pt modelId="{5D0360BF-C0AF-48FE-862A-008CEBB94267}" type="pres">
      <dgm:prSet presAssocID="{8A38C172-9915-4896-A26A-F89FE44C83B9}" presName="Name30" presStyleCnt="0"/>
      <dgm:spPr/>
    </dgm:pt>
    <dgm:pt modelId="{2F1721C2-F78B-46BD-9792-595200B3B00D}" type="pres">
      <dgm:prSet presAssocID="{8A38C172-9915-4896-A26A-F89FE44C83B9}" presName="level2Shape" presStyleLbl="node3" presStyleIdx="2" presStyleCnt="4"/>
      <dgm:spPr/>
      <dgm:t>
        <a:bodyPr/>
        <a:lstStyle/>
        <a:p>
          <a:endParaRPr lang="nb-NO"/>
        </a:p>
      </dgm:t>
    </dgm:pt>
    <dgm:pt modelId="{2DC4A343-78DE-4F15-BF8F-097A5CD56B39}" type="pres">
      <dgm:prSet presAssocID="{8A38C172-9915-4896-A26A-F89FE44C83B9}" presName="hierChild3" presStyleCnt="0"/>
      <dgm:spPr/>
    </dgm:pt>
    <dgm:pt modelId="{2EBD741D-113D-45AA-8319-AACC6861E0D4}" type="pres">
      <dgm:prSet presAssocID="{87132082-39E0-4D32-BB59-F415D75C5DA8}" presName="Name25" presStyleLbl="parChTrans1D4" presStyleIdx="3" presStyleCnt="5"/>
      <dgm:spPr/>
      <dgm:t>
        <a:bodyPr/>
        <a:lstStyle/>
        <a:p>
          <a:endParaRPr lang="nb-NO"/>
        </a:p>
      </dgm:t>
    </dgm:pt>
    <dgm:pt modelId="{B1568529-6795-45B9-BBEA-0FB2B872E9C8}" type="pres">
      <dgm:prSet presAssocID="{87132082-39E0-4D32-BB59-F415D75C5DA8}" presName="connTx" presStyleLbl="parChTrans1D4" presStyleIdx="3" presStyleCnt="5"/>
      <dgm:spPr/>
      <dgm:t>
        <a:bodyPr/>
        <a:lstStyle/>
        <a:p>
          <a:endParaRPr lang="nb-NO"/>
        </a:p>
      </dgm:t>
    </dgm:pt>
    <dgm:pt modelId="{003B1430-932E-408B-BA74-3653E1504FC3}" type="pres">
      <dgm:prSet presAssocID="{8B7C4C73-6687-447B-8EAD-D90394A9E6C9}" presName="Name30" presStyleCnt="0"/>
      <dgm:spPr/>
    </dgm:pt>
    <dgm:pt modelId="{78AF869F-0C39-4C67-B8A9-702E454BBDA0}" type="pres">
      <dgm:prSet presAssocID="{8B7C4C73-6687-447B-8EAD-D90394A9E6C9}" presName="level2Shape" presStyleLbl="node4" presStyleIdx="3" presStyleCnt="5"/>
      <dgm:spPr/>
      <dgm:t>
        <a:bodyPr/>
        <a:lstStyle/>
        <a:p>
          <a:endParaRPr lang="nb-NO"/>
        </a:p>
      </dgm:t>
    </dgm:pt>
    <dgm:pt modelId="{F869CDCB-5116-49C6-86F5-DFE8BF5E87AC}" type="pres">
      <dgm:prSet presAssocID="{8B7C4C73-6687-447B-8EAD-D90394A9E6C9}" presName="hierChild3" presStyleCnt="0"/>
      <dgm:spPr/>
    </dgm:pt>
    <dgm:pt modelId="{AABAAF17-BB44-4B19-9101-D4AD256CCD1E}" type="pres">
      <dgm:prSet presAssocID="{FA151C5C-0DBC-41B0-B21F-00D23E5E57C8}" presName="Name25" presStyleLbl="parChTrans1D4" presStyleIdx="4" presStyleCnt="5"/>
      <dgm:spPr/>
      <dgm:t>
        <a:bodyPr/>
        <a:lstStyle/>
        <a:p>
          <a:endParaRPr lang="nb-NO"/>
        </a:p>
      </dgm:t>
    </dgm:pt>
    <dgm:pt modelId="{B03111F4-B52F-419E-8B51-F44F1E5A5A6A}" type="pres">
      <dgm:prSet presAssocID="{FA151C5C-0DBC-41B0-B21F-00D23E5E57C8}" presName="connTx" presStyleLbl="parChTrans1D4" presStyleIdx="4" presStyleCnt="5"/>
      <dgm:spPr/>
      <dgm:t>
        <a:bodyPr/>
        <a:lstStyle/>
        <a:p>
          <a:endParaRPr lang="nb-NO"/>
        </a:p>
      </dgm:t>
    </dgm:pt>
    <dgm:pt modelId="{B4E984CB-A381-4541-85A8-E1E90A9FA478}" type="pres">
      <dgm:prSet presAssocID="{D5FD73B7-0B9D-4C27-8508-6398D37228B2}" presName="Name30" presStyleCnt="0"/>
      <dgm:spPr/>
    </dgm:pt>
    <dgm:pt modelId="{1E093CEC-59E8-4F75-9BE0-DAC937E232D7}" type="pres">
      <dgm:prSet presAssocID="{D5FD73B7-0B9D-4C27-8508-6398D37228B2}" presName="level2Shape" presStyleLbl="node4" presStyleIdx="4" presStyleCnt="5"/>
      <dgm:spPr/>
      <dgm:t>
        <a:bodyPr/>
        <a:lstStyle/>
        <a:p>
          <a:endParaRPr lang="nb-NO"/>
        </a:p>
      </dgm:t>
    </dgm:pt>
    <dgm:pt modelId="{F4EBCBED-7131-4213-A4B7-A318D335EA4B}" type="pres">
      <dgm:prSet presAssocID="{D5FD73B7-0B9D-4C27-8508-6398D37228B2}" presName="hierChild3" presStyleCnt="0"/>
      <dgm:spPr/>
    </dgm:pt>
    <dgm:pt modelId="{688300FA-DE9B-4E5E-B85E-940A1FB73DC4}" type="pres">
      <dgm:prSet presAssocID="{E89406DB-6BA2-4199-9F2F-35836B10189D}" presName="Name25" presStyleLbl="parChTrans1D2" presStyleIdx="2" presStyleCnt="3"/>
      <dgm:spPr/>
      <dgm:t>
        <a:bodyPr/>
        <a:lstStyle/>
        <a:p>
          <a:endParaRPr lang="nb-NO"/>
        </a:p>
      </dgm:t>
    </dgm:pt>
    <dgm:pt modelId="{66C70094-7755-4DB5-8E35-C8FBA92C6F30}" type="pres">
      <dgm:prSet presAssocID="{E89406DB-6BA2-4199-9F2F-35836B10189D}" presName="connTx" presStyleLbl="parChTrans1D2" presStyleIdx="2" presStyleCnt="3"/>
      <dgm:spPr/>
      <dgm:t>
        <a:bodyPr/>
        <a:lstStyle/>
        <a:p>
          <a:endParaRPr lang="nb-NO"/>
        </a:p>
      </dgm:t>
    </dgm:pt>
    <dgm:pt modelId="{481E0444-52A9-47CE-B810-8799D391A63E}" type="pres">
      <dgm:prSet presAssocID="{17301840-3C25-4C48-9B1E-0B527F7C6620}" presName="Name30" presStyleCnt="0"/>
      <dgm:spPr/>
    </dgm:pt>
    <dgm:pt modelId="{50C0B034-6B0F-480C-94D8-4BF748885748}" type="pres">
      <dgm:prSet presAssocID="{17301840-3C25-4C48-9B1E-0B527F7C6620}" presName="level2Shape" presStyleLbl="node2" presStyleIdx="2" presStyleCnt="3"/>
      <dgm:spPr/>
      <dgm:t>
        <a:bodyPr/>
        <a:lstStyle/>
        <a:p>
          <a:endParaRPr lang="nb-NO"/>
        </a:p>
      </dgm:t>
    </dgm:pt>
    <dgm:pt modelId="{ED58B549-436B-4498-8D8E-9BAE8112F271}" type="pres">
      <dgm:prSet presAssocID="{17301840-3C25-4C48-9B1E-0B527F7C6620}" presName="hierChild3" presStyleCnt="0"/>
      <dgm:spPr/>
    </dgm:pt>
    <dgm:pt modelId="{9DAFE529-4B14-4842-B3C9-AAFAA70061A1}" type="pres">
      <dgm:prSet presAssocID="{57F18DAB-FCBC-4499-B9D6-78E2D4446305}" presName="Name25" presStyleLbl="parChTrans1D3" presStyleIdx="3" presStyleCnt="4"/>
      <dgm:spPr/>
      <dgm:t>
        <a:bodyPr/>
        <a:lstStyle/>
        <a:p>
          <a:endParaRPr lang="nb-NO"/>
        </a:p>
      </dgm:t>
    </dgm:pt>
    <dgm:pt modelId="{A29CA13D-FDE6-4F91-943D-CE5A568AE5F6}" type="pres">
      <dgm:prSet presAssocID="{57F18DAB-FCBC-4499-B9D6-78E2D4446305}" presName="connTx" presStyleLbl="parChTrans1D3" presStyleIdx="3" presStyleCnt="4"/>
      <dgm:spPr/>
      <dgm:t>
        <a:bodyPr/>
        <a:lstStyle/>
        <a:p>
          <a:endParaRPr lang="nb-NO"/>
        </a:p>
      </dgm:t>
    </dgm:pt>
    <dgm:pt modelId="{41D3A1AE-F375-4C0D-A843-783E4E86D0B4}" type="pres">
      <dgm:prSet presAssocID="{DD5DB054-6068-49F9-B927-B36701652B71}" presName="Name30" presStyleCnt="0"/>
      <dgm:spPr/>
    </dgm:pt>
    <dgm:pt modelId="{29A171E6-D0F5-4470-87A3-7E26241F201D}" type="pres">
      <dgm:prSet presAssocID="{DD5DB054-6068-49F9-B927-B36701652B71}" presName="level2Shape" presStyleLbl="node3" presStyleIdx="3" presStyleCnt="4"/>
      <dgm:spPr/>
      <dgm:t>
        <a:bodyPr/>
        <a:lstStyle/>
        <a:p>
          <a:endParaRPr lang="nb-NO"/>
        </a:p>
      </dgm:t>
    </dgm:pt>
    <dgm:pt modelId="{76FC3DA3-9359-4B60-B2FA-5190649364B0}" type="pres">
      <dgm:prSet presAssocID="{DD5DB054-6068-49F9-B927-B36701652B71}" presName="hierChild3" presStyleCnt="0"/>
      <dgm:spPr/>
    </dgm:pt>
    <dgm:pt modelId="{9262314E-B74D-488A-BDEB-7310280F9A07}" type="pres">
      <dgm:prSet presAssocID="{9083C0CA-3FB6-47D7-9DC2-E2C6C524134E}" presName="bgShapesFlow" presStyleCnt="0"/>
      <dgm:spPr/>
    </dgm:pt>
    <dgm:pt modelId="{88076520-6ECE-4B53-84C2-A2A868D49146}" type="pres">
      <dgm:prSet presAssocID="{36A70192-87D1-4539-BBC7-D48A2D0C89D9}" presName="rectComp" presStyleCnt="0"/>
      <dgm:spPr/>
    </dgm:pt>
    <dgm:pt modelId="{D1EC4036-C7E1-44E0-AEA0-98FFB3FE7BB1}" type="pres">
      <dgm:prSet presAssocID="{36A70192-87D1-4539-BBC7-D48A2D0C89D9}" presName="bgRect" presStyleLbl="bgShp" presStyleIdx="0" presStyleCnt="4"/>
      <dgm:spPr/>
      <dgm:t>
        <a:bodyPr/>
        <a:lstStyle/>
        <a:p>
          <a:endParaRPr lang="nb-NO"/>
        </a:p>
      </dgm:t>
    </dgm:pt>
    <dgm:pt modelId="{42A4B708-E792-4DCB-AF11-225DE7B0D727}" type="pres">
      <dgm:prSet presAssocID="{36A70192-87D1-4539-BBC7-D48A2D0C89D9}" presName="bgRectTx" presStyleLbl="bgShp" presStyleIdx="0" presStyleCnt="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2D75C93-783D-41A6-AB62-D0815CA2316A}" type="pres">
      <dgm:prSet presAssocID="{36A70192-87D1-4539-BBC7-D48A2D0C89D9}" presName="spComp" presStyleCnt="0"/>
      <dgm:spPr/>
    </dgm:pt>
    <dgm:pt modelId="{B0616FCE-F5EF-4774-B31D-C177C83C0C58}" type="pres">
      <dgm:prSet presAssocID="{36A70192-87D1-4539-BBC7-D48A2D0C89D9}" presName="hSp" presStyleCnt="0"/>
      <dgm:spPr/>
    </dgm:pt>
    <dgm:pt modelId="{74AA7978-E32D-41A4-A96F-6D6B16578A88}" type="pres">
      <dgm:prSet presAssocID="{59CC6260-C883-4665-9988-77AE7AE67A81}" presName="rectComp" presStyleCnt="0"/>
      <dgm:spPr/>
    </dgm:pt>
    <dgm:pt modelId="{0D6F98C8-D1DE-4457-98E2-40DDFABA23EA}" type="pres">
      <dgm:prSet presAssocID="{59CC6260-C883-4665-9988-77AE7AE67A81}" presName="bgRect" presStyleLbl="bgShp" presStyleIdx="1" presStyleCnt="4"/>
      <dgm:spPr/>
      <dgm:t>
        <a:bodyPr/>
        <a:lstStyle/>
        <a:p>
          <a:endParaRPr lang="nb-NO"/>
        </a:p>
      </dgm:t>
    </dgm:pt>
    <dgm:pt modelId="{CF33B9AF-8160-44F3-B1AB-1EE5DD83CE84}" type="pres">
      <dgm:prSet presAssocID="{59CC6260-C883-4665-9988-77AE7AE67A81}" presName="bgRectTx" presStyleLbl="bgShp" presStyleIdx="1" presStyleCnt="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F43C73E-33FC-4930-8E01-3E9591634810}" type="pres">
      <dgm:prSet presAssocID="{59CC6260-C883-4665-9988-77AE7AE67A81}" presName="spComp" presStyleCnt="0"/>
      <dgm:spPr/>
    </dgm:pt>
    <dgm:pt modelId="{E622DE46-3EAD-4FDB-91C2-CF945C261B12}" type="pres">
      <dgm:prSet presAssocID="{59CC6260-C883-4665-9988-77AE7AE67A81}" presName="hSp" presStyleCnt="0"/>
      <dgm:spPr/>
    </dgm:pt>
    <dgm:pt modelId="{14E30126-8FD5-4CF3-8B05-70F7A1227F68}" type="pres">
      <dgm:prSet presAssocID="{AD75AA9B-61F9-4782-9667-2016054E002F}" presName="rectComp" presStyleCnt="0"/>
      <dgm:spPr/>
    </dgm:pt>
    <dgm:pt modelId="{21241AFA-FCEE-4A6D-A14B-247E170E9E6D}" type="pres">
      <dgm:prSet presAssocID="{AD75AA9B-61F9-4782-9667-2016054E002F}" presName="bgRect" presStyleLbl="bgShp" presStyleIdx="2" presStyleCnt="4"/>
      <dgm:spPr/>
      <dgm:t>
        <a:bodyPr/>
        <a:lstStyle/>
        <a:p>
          <a:endParaRPr lang="nb-NO"/>
        </a:p>
      </dgm:t>
    </dgm:pt>
    <dgm:pt modelId="{CEF2B53F-F02F-4C5F-8AE7-07E4DFB6D25C}" type="pres">
      <dgm:prSet presAssocID="{AD75AA9B-61F9-4782-9667-2016054E002F}" presName="bgRectTx" presStyleLbl="bgShp" presStyleIdx="2" presStyleCnt="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1345F2B9-FBF8-4826-A674-00CA2C3F8369}" type="pres">
      <dgm:prSet presAssocID="{AD75AA9B-61F9-4782-9667-2016054E002F}" presName="spComp" presStyleCnt="0"/>
      <dgm:spPr/>
    </dgm:pt>
    <dgm:pt modelId="{3FC3BBEE-C06C-4B77-867D-A75AD5D88B67}" type="pres">
      <dgm:prSet presAssocID="{AD75AA9B-61F9-4782-9667-2016054E002F}" presName="hSp" presStyleCnt="0"/>
      <dgm:spPr/>
    </dgm:pt>
    <dgm:pt modelId="{9246E46E-4A3C-4BD4-9050-008983002D00}" type="pres">
      <dgm:prSet presAssocID="{4D801C41-E2EC-4903-BB40-585239280C9B}" presName="rectComp" presStyleCnt="0"/>
      <dgm:spPr/>
    </dgm:pt>
    <dgm:pt modelId="{4A25EE1B-E91C-4724-B4AB-1F97ED02D5AA}" type="pres">
      <dgm:prSet presAssocID="{4D801C41-E2EC-4903-BB40-585239280C9B}" presName="bgRect" presStyleLbl="bgShp" presStyleIdx="3" presStyleCnt="4"/>
      <dgm:spPr/>
      <dgm:t>
        <a:bodyPr/>
        <a:lstStyle/>
        <a:p>
          <a:endParaRPr lang="nb-NO"/>
        </a:p>
      </dgm:t>
    </dgm:pt>
    <dgm:pt modelId="{89C59674-22CC-4158-BFF0-70CF6825ABD0}" type="pres">
      <dgm:prSet presAssocID="{4D801C41-E2EC-4903-BB40-585239280C9B}" presName="bgRectTx" presStyleLbl="bgShp" presStyleIdx="3" presStyleCnt="4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50E74FEC-F86F-402F-BADF-202D39D696A1}" type="presOf" srcId="{36A70192-87D1-4539-BBC7-D48A2D0C89D9}" destId="{D1EC4036-C7E1-44E0-AEA0-98FFB3FE7BB1}" srcOrd="0" destOrd="0" presId="urn:microsoft.com/office/officeart/2005/8/layout/hierarchy5"/>
    <dgm:cxn modelId="{720F0E4B-618B-4C2E-91B2-3D222E842677}" srcId="{8A38C172-9915-4896-A26A-F89FE44C83B9}" destId="{8B7C4C73-6687-447B-8EAD-D90394A9E6C9}" srcOrd="0" destOrd="0" parTransId="{87132082-39E0-4D32-BB59-F415D75C5DA8}" sibTransId="{01047AC3-D8DA-4BCF-8DF6-87C35206A95F}"/>
    <dgm:cxn modelId="{1BF7C81F-0971-413D-9770-C9FD60434F43}" srcId="{80A6B342-B8A7-47A3-B530-17718B3AAE25}" destId="{D3A3D984-39A3-423C-A139-B7F39E3E0383}" srcOrd="2" destOrd="0" parTransId="{21826128-BEE0-49F3-99A7-4DF3413A60CD}" sibTransId="{6CB36300-7D04-4BE3-B2E8-F71A18A842F3}"/>
    <dgm:cxn modelId="{381C9F38-D0AC-47C7-8D6D-8724865F7DA2}" type="presOf" srcId="{80A6B342-B8A7-47A3-B530-17718B3AAE25}" destId="{1840529B-EB1A-49D8-A620-57054FC55365}" srcOrd="0" destOrd="0" presId="urn:microsoft.com/office/officeart/2005/8/layout/hierarchy5"/>
    <dgm:cxn modelId="{A23BC276-0167-41C0-A150-31EBAC807BF1}" type="presOf" srcId="{17301840-3C25-4C48-9B1E-0B527F7C6620}" destId="{50C0B034-6B0F-480C-94D8-4BF748885748}" srcOrd="0" destOrd="0" presId="urn:microsoft.com/office/officeart/2005/8/layout/hierarchy5"/>
    <dgm:cxn modelId="{0AF0AA52-269F-4B8F-B242-DD43502DC574}" srcId="{C6C784A2-4A7D-43EF-8E3F-984CEF035ECE}" destId="{80A6B342-B8A7-47A3-B530-17718B3AAE25}" srcOrd="0" destOrd="0" parTransId="{10C88997-CC8C-4B8C-9053-34A7042019AC}" sibTransId="{B7CB029D-30ED-4C61-B4C5-6E860BFEA3A2}"/>
    <dgm:cxn modelId="{FFB52BD3-7F04-461B-B73C-F88EB19B7E17}" srcId="{80A6B342-B8A7-47A3-B530-17718B3AAE25}" destId="{80529097-2085-498F-BB8D-0B41E7DC0CB1}" srcOrd="1" destOrd="0" parTransId="{45A06BB2-8211-4402-98E7-A40644B4442B}" sibTransId="{DDDEBDE5-B6B8-4376-81B6-63DFA9A7A462}"/>
    <dgm:cxn modelId="{A66EE9FA-AA4D-4D47-BB77-2EACB11BC450}" srcId="{9083C0CA-3FB6-47D7-9DC2-E2C6C524134E}" destId="{762EF590-160F-420F-9AE1-49883AA928AE}" srcOrd="0" destOrd="0" parTransId="{01162254-2848-468D-9D3F-B3E1D82D3659}" sibTransId="{BAF6B390-E4A5-4905-9963-E10E9D044758}"/>
    <dgm:cxn modelId="{95D6D318-4B8F-4B63-824E-C359A549C163}" type="presOf" srcId="{9520B4B4-2947-4A1D-A27E-B45600700ECC}" destId="{A5B62940-8BF5-480D-AAC2-029B26C16C98}" srcOrd="0" destOrd="0" presId="urn:microsoft.com/office/officeart/2005/8/layout/hierarchy5"/>
    <dgm:cxn modelId="{591ED492-C097-4DA9-ADBD-B34ECB1B47CF}" type="presOf" srcId="{8639AA8C-1C31-4664-8882-051BABFCB0CC}" destId="{C9D0DD3C-8492-48B7-AFEE-C38D9F957FD4}" srcOrd="1" destOrd="0" presId="urn:microsoft.com/office/officeart/2005/8/layout/hierarchy5"/>
    <dgm:cxn modelId="{137AB672-27D2-4B58-BEA5-CC690607FFB7}" type="presOf" srcId="{DD5DB054-6068-49F9-B927-B36701652B71}" destId="{29A171E6-D0F5-4470-87A3-7E26241F201D}" srcOrd="0" destOrd="0" presId="urn:microsoft.com/office/officeart/2005/8/layout/hierarchy5"/>
    <dgm:cxn modelId="{80C4B59F-98B1-4C41-96C2-4C09A05BFC2E}" type="presOf" srcId="{4D801C41-E2EC-4903-BB40-585239280C9B}" destId="{4A25EE1B-E91C-4724-B4AB-1F97ED02D5AA}" srcOrd="0" destOrd="0" presId="urn:microsoft.com/office/officeart/2005/8/layout/hierarchy5"/>
    <dgm:cxn modelId="{1CF3699A-856D-4593-AB3E-9467D7B865BA}" type="presOf" srcId="{D3A3D984-39A3-423C-A139-B7F39E3E0383}" destId="{35EDD057-D0E6-4721-A13F-5474F1075904}" srcOrd="0" destOrd="0" presId="urn:microsoft.com/office/officeart/2005/8/layout/hierarchy5"/>
    <dgm:cxn modelId="{09999BA0-8A0E-472F-85ED-2BCE88638E4F}" type="presOf" srcId="{87132082-39E0-4D32-BB59-F415D75C5DA8}" destId="{2EBD741D-113D-45AA-8319-AACC6861E0D4}" srcOrd="0" destOrd="0" presId="urn:microsoft.com/office/officeart/2005/8/layout/hierarchy5"/>
    <dgm:cxn modelId="{36293E7D-E3EC-43F6-9CAC-D3BEC4DEF779}" type="presOf" srcId="{6F7D707B-F7A3-4832-BE20-1352AD79E0E2}" destId="{C6498F3A-E144-4EA7-8583-38A843F262DC}" srcOrd="0" destOrd="0" presId="urn:microsoft.com/office/officeart/2005/8/layout/hierarchy5"/>
    <dgm:cxn modelId="{432ABB2E-8E3C-452E-967C-3B9C07CEE6B8}" type="presOf" srcId="{36A70192-87D1-4539-BBC7-D48A2D0C89D9}" destId="{42A4B708-E792-4DCB-AF11-225DE7B0D727}" srcOrd="1" destOrd="0" presId="urn:microsoft.com/office/officeart/2005/8/layout/hierarchy5"/>
    <dgm:cxn modelId="{B14E9A79-9D56-4603-BAE6-0958224DF47F}" srcId="{B767DE2B-E292-44DC-83CE-E777DCBC27A9}" destId="{8A38C172-9915-4896-A26A-F89FE44C83B9}" srcOrd="0" destOrd="0" parTransId="{A5F253EE-3E89-4503-89B1-870630F1BD1F}" sibTransId="{3361B378-021C-4F93-BEC5-1983A1225D3F}"/>
    <dgm:cxn modelId="{ECEC449C-B935-4756-88ED-9C4225E98EF2}" srcId="{9083C0CA-3FB6-47D7-9DC2-E2C6C524134E}" destId="{4D801C41-E2EC-4903-BB40-585239280C9B}" srcOrd="4" destOrd="0" parTransId="{7FED8FF8-9638-4BA6-BC77-3E08E886765D}" sibTransId="{1DBC3AC0-8429-4395-9959-10FBCA67C6FB}"/>
    <dgm:cxn modelId="{CB2A1194-B921-4F34-AF2D-A44A2AF01B98}" type="presOf" srcId="{AD75AA9B-61F9-4782-9667-2016054E002F}" destId="{CEF2B53F-F02F-4C5F-8AE7-07E4DFB6D25C}" srcOrd="1" destOrd="0" presId="urn:microsoft.com/office/officeart/2005/8/layout/hierarchy5"/>
    <dgm:cxn modelId="{3FF641A1-ECF5-483C-83AD-F9D968BE1C00}" type="presOf" srcId="{10C88997-CC8C-4B8C-9053-34A7042019AC}" destId="{2EFC976A-E189-42FD-A925-E7416E513E1E}" srcOrd="0" destOrd="0" presId="urn:microsoft.com/office/officeart/2005/8/layout/hierarchy5"/>
    <dgm:cxn modelId="{3CAAB522-A29B-4D52-A043-F503AF3EA4C2}" type="presOf" srcId="{AC4F6EAA-738D-43AF-BAEB-0AD9EC1FC858}" destId="{B5DE5F4C-4E3F-4757-9D9B-D92B8CBCB1D1}" srcOrd="0" destOrd="0" presId="urn:microsoft.com/office/officeart/2005/8/layout/hierarchy5"/>
    <dgm:cxn modelId="{4C806F28-281F-434E-9906-7DA656D589AA}" type="presOf" srcId="{E89406DB-6BA2-4199-9F2F-35836B10189D}" destId="{66C70094-7755-4DB5-8E35-C8FBA92C6F30}" srcOrd="1" destOrd="0" presId="urn:microsoft.com/office/officeart/2005/8/layout/hierarchy5"/>
    <dgm:cxn modelId="{FEA86379-92B6-4CAE-8A9C-4C357741ECA1}" type="presOf" srcId="{D5FD73B7-0B9D-4C27-8508-6398D37228B2}" destId="{1E093CEC-59E8-4F75-9BE0-DAC937E232D7}" srcOrd="0" destOrd="0" presId="urn:microsoft.com/office/officeart/2005/8/layout/hierarchy5"/>
    <dgm:cxn modelId="{2428E051-0BD9-428D-A825-1AE040DF9058}" type="presOf" srcId="{21826128-BEE0-49F3-99A7-4DF3413A60CD}" destId="{7C4F2FFA-A89D-4D85-8425-9537B2337633}" srcOrd="0" destOrd="0" presId="urn:microsoft.com/office/officeart/2005/8/layout/hierarchy5"/>
    <dgm:cxn modelId="{E6C5FF72-46D3-473B-90B9-5200533E821F}" type="presOf" srcId="{E89406DB-6BA2-4199-9F2F-35836B10189D}" destId="{688300FA-DE9B-4E5E-B85E-940A1FB73DC4}" srcOrd="0" destOrd="0" presId="urn:microsoft.com/office/officeart/2005/8/layout/hierarchy5"/>
    <dgm:cxn modelId="{092B1F5A-985D-4AA7-9BC6-59215BAC8837}" srcId="{9083C0CA-3FB6-47D7-9DC2-E2C6C524134E}" destId="{59CC6260-C883-4665-9988-77AE7AE67A81}" srcOrd="2" destOrd="0" parTransId="{C0095768-6CF2-46EC-AE9D-0EF09AA26C46}" sibTransId="{3967ACEC-70FB-4BCE-8C80-58BCD7CE55D0}"/>
    <dgm:cxn modelId="{F2B1FCB4-4716-46AC-B966-A89E82170800}" srcId="{9083C0CA-3FB6-47D7-9DC2-E2C6C524134E}" destId="{AD75AA9B-61F9-4782-9667-2016054E002F}" srcOrd="3" destOrd="0" parTransId="{DE4AF088-E188-4841-8D66-9F8D3127C0D0}" sibTransId="{D8ECF68D-41C1-4481-BA71-51DF3CBA8583}"/>
    <dgm:cxn modelId="{89AA4893-0AC2-4070-8F02-7A26A3F7F542}" srcId="{762EF590-160F-420F-9AE1-49883AA928AE}" destId="{17301840-3C25-4C48-9B1E-0B527F7C6620}" srcOrd="2" destOrd="0" parTransId="{E89406DB-6BA2-4199-9F2F-35836B10189D}" sibTransId="{AC7937FC-0BDA-46FE-8D57-9E132C927F08}"/>
    <dgm:cxn modelId="{D545861D-0589-46C6-83C7-BAACAB6A0DE8}" type="presOf" srcId="{AD75AA9B-61F9-4782-9667-2016054E002F}" destId="{21241AFA-FCEE-4A6D-A14B-247E170E9E6D}" srcOrd="0" destOrd="0" presId="urn:microsoft.com/office/officeart/2005/8/layout/hierarchy5"/>
    <dgm:cxn modelId="{594868BB-99FA-4064-AA05-AE49D01D6A93}" type="presOf" srcId="{57F18DAB-FCBC-4499-B9D6-78E2D4446305}" destId="{A29CA13D-FDE6-4F91-943D-CE5A568AE5F6}" srcOrd="1" destOrd="0" presId="urn:microsoft.com/office/officeart/2005/8/layout/hierarchy5"/>
    <dgm:cxn modelId="{23FA01EF-83AB-400D-BE02-4BEBE917F310}" type="presOf" srcId="{59CC6260-C883-4665-9988-77AE7AE67A81}" destId="{0D6F98C8-D1DE-4457-98E2-40DDFABA23EA}" srcOrd="0" destOrd="0" presId="urn:microsoft.com/office/officeart/2005/8/layout/hierarchy5"/>
    <dgm:cxn modelId="{E70BA435-5FF2-4855-92D7-3B95E5032790}" type="presOf" srcId="{8639AA8C-1C31-4664-8882-051BABFCB0CC}" destId="{7D2594EB-30C5-4A0B-8F2C-F2E26791F7A1}" srcOrd="0" destOrd="0" presId="urn:microsoft.com/office/officeart/2005/8/layout/hierarchy5"/>
    <dgm:cxn modelId="{80436D98-6966-4A8E-8588-20F23B994CB6}" type="presOf" srcId="{57F18DAB-FCBC-4499-B9D6-78E2D4446305}" destId="{9DAFE529-4B14-4842-B3C9-AAFAA70061A1}" srcOrd="0" destOrd="0" presId="urn:microsoft.com/office/officeart/2005/8/layout/hierarchy5"/>
    <dgm:cxn modelId="{EB7B07DD-A6A6-458C-B104-1DF185E0F310}" type="presOf" srcId="{FA151C5C-0DBC-41B0-B21F-00D23E5E57C8}" destId="{B03111F4-B52F-419E-8B51-F44F1E5A5A6A}" srcOrd="1" destOrd="0" presId="urn:microsoft.com/office/officeart/2005/8/layout/hierarchy5"/>
    <dgm:cxn modelId="{ED4F322B-13E3-4807-A20F-5BB4972E0021}" type="presOf" srcId="{AC4F6EAA-738D-43AF-BAEB-0AD9EC1FC858}" destId="{8AEB59F5-A27A-456F-BF44-FDC8C7CBEC68}" srcOrd="1" destOrd="0" presId="urn:microsoft.com/office/officeart/2005/8/layout/hierarchy5"/>
    <dgm:cxn modelId="{9D319C39-A300-4BFD-9853-83D88567D8E1}" srcId="{17301840-3C25-4C48-9B1E-0B527F7C6620}" destId="{DD5DB054-6068-49F9-B927-B36701652B71}" srcOrd="0" destOrd="0" parTransId="{57F18DAB-FCBC-4499-B9D6-78E2D4446305}" sibTransId="{B9BD17BF-02D8-41DF-AD07-9045EA7710B3}"/>
    <dgm:cxn modelId="{14DCB025-91B7-45C2-924D-6398794E29F9}" type="presOf" srcId="{9083C0CA-3FB6-47D7-9DC2-E2C6C524134E}" destId="{EB42CA00-9262-44E8-AADD-B06E5EF0DBCA}" srcOrd="0" destOrd="0" presId="urn:microsoft.com/office/officeart/2005/8/layout/hierarchy5"/>
    <dgm:cxn modelId="{9B5D0519-382A-4054-9D86-F2C409F2FD45}" type="presOf" srcId="{10C88997-CC8C-4B8C-9053-34A7042019AC}" destId="{A6B2D96E-6EE8-4A4F-B714-6C0D69619469}" srcOrd="1" destOrd="0" presId="urn:microsoft.com/office/officeart/2005/8/layout/hierarchy5"/>
    <dgm:cxn modelId="{881ECFAD-2EA4-4858-984D-79ACF6CEC344}" srcId="{762EF590-160F-420F-9AE1-49883AA928AE}" destId="{B767DE2B-E292-44DC-83CE-E777DCBC27A9}" srcOrd="1" destOrd="0" parTransId="{8639AA8C-1C31-4664-8882-051BABFCB0CC}" sibTransId="{787D14D5-CA57-4913-8AB8-9139D263D5BE}"/>
    <dgm:cxn modelId="{72AE7994-AB3D-42FC-AF59-115B1FAF3776}" type="presOf" srcId="{45A06BB2-8211-4402-98E7-A40644B4442B}" destId="{01A08821-9AAF-4562-B87B-1A54E677CDF0}" srcOrd="0" destOrd="0" presId="urn:microsoft.com/office/officeart/2005/8/layout/hierarchy5"/>
    <dgm:cxn modelId="{B3EFCF8D-8F7D-415F-A00F-9FD011AAD4ED}" type="presOf" srcId="{6F7D707B-F7A3-4832-BE20-1352AD79E0E2}" destId="{245EF6D8-6C8D-4151-9528-206752E7FFA9}" srcOrd="1" destOrd="0" presId="urn:microsoft.com/office/officeart/2005/8/layout/hierarchy5"/>
    <dgm:cxn modelId="{118B3EFF-5AC3-43FC-BDDE-88A25025E51C}" srcId="{C6C784A2-4A7D-43EF-8E3F-984CEF035ECE}" destId="{EF64ACB9-1F7A-4916-B4F0-BE435D3742E4}" srcOrd="1" destOrd="0" parTransId="{A65B4E19-7F7C-4C62-B35B-D4DAE3E68C9D}" sibTransId="{1B521E7D-1B57-4291-BA29-03511A0F757D}"/>
    <dgm:cxn modelId="{CA8B2BA9-0467-4AFF-A47D-CC575FB978DB}" type="presOf" srcId="{21826128-BEE0-49F3-99A7-4DF3413A60CD}" destId="{B476407D-99CA-4F80-9642-BA5ED0D89D98}" srcOrd="1" destOrd="0" presId="urn:microsoft.com/office/officeart/2005/8/layout/hierarchy5"/>
    <dgm:cxn modelId="{B87EC370-9C65-4DFB-BB4D-119266E49B7F}" type="presOf" srcId="{A65B4E19-7F7C-4C62-B35B-D4DAE3E68C9D}" destId="{B73FAD14-B540-4837-A746-15F62D4C77AC}" srcOrd="1" destOrd="0" presId="urn:microsoft.com/office/officeart/2005/8/layout/hierarchy5"/>
    <dgm:cxn modelId="{935F6488-6BFF-4350-B848-275A0FDD6DD4}" type="presOf" srcId="{A5F253EE-3E89-4503-89B1-870630F1BD1F}" destId="{4BB7E337-7BD3-4BA9-BF71-7485A8FCE54F}" srcOrd="1" destOrd="0" presId="urn:microsoft.com/office/officeart/2005/8/layout/hierarchy5"/>
    <dgm:cxn modelId="{035E3100-9077-4EBC-8B27-69B25EE81E02}" type="presOf" srcId="{762EF590-160F-420F-9AE1-49883AA928AE}" destId="{F91660F9-9DA9-4BCC-BFF0-439EB06AE054}" srcOrd="0" destOrd="0" presId="urn:microsoft.com/office/officeart/2005/8/layout/hierarchy5"/>
    <dgm:cxn modelId="{E790F516-2A17-44A7-9655-D0606A3E9D48}" type="presOf" srcId="{FA151C5C-0DBC-41B0-B21F-00D23E5E57C8}" destId="{AABAAF17-BB44-4B19-9101-D4AD256CCD1E}" srcOrd="0" destOrd="0" presId="urn:microsoft.com/office/officeart/2005/8/layout/hierarchy5"/>
    <dgm:cxn modelId="{2C81549B-4DD0-4BF0-9B9C-892414C7E29E}" srcId="{80A6B342-B8A7-47A3-B530-17718B3AAE25}" destId="{9520B4B4-2947-4A1D-A27E-B45600700ECC}" srcOrd="0" destOrd="0" parTransId="{AC4F6EAA-738D-43AF-BAEB-0AD9EC1FC858}" sibTransId="{6AED8FDF-8460-447A-93FF-4FFAFC85DD5E}"/>
    <dgm:cxn modelId="{5F7AF99B-CBFC-4CE9-B67A-B5CC444E2512}" type="presOf" srcId="{45A06BB2-8211-4402-98E7-A40644B4442B}" destId="{C0A196D2-B07A-4D20-A150-B2C94A87F79E}" srcOrd="1" destOrd="0" presId="urn:microsoft.com/office/officeart/2005/8/layout/hierarchy5"/>
    <dgm:cxn modelId="{EA5452B1-BE39-41D1-BA36-AC7D20E5C586}" type="presOf" srcId="{59CC6260-C883-4665-9988-77AE7AE67A81}" destId="{CF33B9AF-8160-44F3-B1AB-1EE5DD83CE84}" srcOrd="1" destOrd="0" presId="urn:microsoft.com/office/officeart/2005/8/layout/hierarchy5"/>
    <dgm:cxn modelId="{65E566E5-75EF-4D84-B6F2-9B9C8BB7BFB3}" srcId="{9083C0CA-3FB6-47D7-9DC2-E2C6C524134E}" destId="{36A70192-87D1-4539-BBC7-D48A2D0C89D9}" srcOrd="1" destOrd="0" parTransId="{202BE64C-E5A6-4383-BFB2-9BA6F4438CCC}" sibTransId="{020F2221-9E53-437F-A3B4-F5C2E82D79C8}"/>
    <dgm:cxn modelId="{D4FF17BD-B1C3-45E1-A7DF-C46774CFAD99}" type="presOf" srcId="{8A38C172-9915-4896-A26A-F89FE44C83B9}" destId="{2F1721C2-F78B-46BD-9792-595200B3B00D}" srcOrd="0" destOrd="0" presId="urn:microsoft.com/office/officeart/2005/8/layout/hierarchy5"/>
    <dgm:cxn modelId="{F4D63BC3-513A-4C28-BDA1-96CEA16B4165}" srcId="{762EF590-160F-420F-9AE1-49883AA928AE}" destId="{C6C784A2-4A7D-43EF-8E3F-984CEF035ECE}" srcOrd="0" destOrd="0" parTransId="{6F7D707B-F7A3-4832-BE20-1352AD79E0E2}" sibTransId="{8D83A46D-5D2D-4FF3-A4B6-B34629373978}"/>
    <dgm:cxn modelId="{986DE9CB-9D4A-4266-8B2D-D71D76F19E1D}" type="presOf" srcId="{4D801C41-E2EC-4903-BB40-585239280C9B}" destId="{89C59674-22CC-4158-BFF0-70CF6825ABD0}" srcOrd="1" destOrd="0" presId="urn:microsoft.com/office/officeart/2005/8/layout/hierarchy5"/>
    <dgm:cxn modelId="{0986F77D-CCAF-4E62-A7CA-A77342330025}" srcId="{8A38C172-9915-4896-A26A-F89FE44C83B9}" destId="{D5FD73B7-0B9D-4C27-8508-6398D37228B2}" srcOrd="1" destOrd="0" parTransId="{FA151C5C-0DBC-41B0-B21F-00D23E5E57C8}" sibTransId="{A6452CEB-BA4C-4398-8CED-378C69105C80}"/>
    <dgm:cxn modelId="{D61FA9C0-195C-4D60-8D13-49229AAFB710}" type="presOf" srcId="{A5F253EE-3E89-4503-89B1-870630F1BD1F}" destId="{A156A696-0C1B-4F09-B916-BD5469990C82}" srcOrd="0" destOrd="0" presId="urn:microsoft.com/office/officeart/2005/8/layout/hierarchy5"/>
    <dgm:cxn modelId="{2858B2A3-D820-454E-BC29-7B3FF73B35DB}" type="presOf" srcId="{EF64ACB9-1F7A-4916-B4F0-BE435D3742E4}" destId="{963C06EB-65B1-43EE-8802-EED0862D045B}" srcOrd="0" destOrd="0" presId="urn:microsoft.com/office/officeart/2005/8/layout/hierarchy5"/>
    <dgm:cxn modelId="{FDB11943-8E16-4C7A-BC32-8D48DCF6B3AD}" type="presOf" srcId="{87132082-39E0-4D32-BB59-F415D75C5DA8}" destId="{B1568529-6795-45B9-BBEA-0FB2B872E9C8}" srcOrd="1" destOrd="0" presId="urn:microsoft.com/office/officeart/2005/8/layout/hierarchy5"/>
    <dgm:cxn modelId="{52DE1FA7-6440-4792-9088-E8A0426448F5}" type="presOf" srcId="{80529097-2085-498F-BB8D-0B41E7DC0CB1}" destId="{59F93108-6DBB-4166-8184-49AF43B15928}" srcOrd="0" destOrd="0" presId="urn:microsoft.com/office/officeart/2005/8/layout/hierarchy5"/>
    <dgm:cxn modelId="{F9802FD8-20FF-433D-87C2-8862BDA05BCF}" type="presOf" srcId="{C6C784A2-4A7D-43EF-8E3F-984CEF035ECE}" destId="{9C373FCA-D79C-44D5-9300-9CFC761AA81C}" srcOrd="0" destOrd="0" presId="urn:microsoft.com/office/officeart/2005/8/layout/hierarchy5"/>
    <dgm:cxn modelId="{B4512112-135B-49AA-A950-81DB1427904E}" type="presOf" srcId="{A65B4E19-7F7C-4C62-B35B-D4DAE3E68C9D}" destId="{16069183-BA56-4ABB-A35C-1A9ACFCC121E}" srcOrd="0" destOrd="0" presId="urn:microsoft.com/office/officeart/2005/8/layout/hierarchy5"/>
    <dgm:cxn modelId="{0669BC6A-B239-4B08-A165-6D0602FAE636}" type="presOf" srcId="{8B7C4C73-6687-447B-8EAD-D90394A9E6C9}" destId="{78AF869F-0C39-4C67-B8A9-702E454BBDA0}" srcOrd="0" destOrd="0" presId="urn:microsoft.com/office/officeart/2005/8/layout/hierarchy5"/>
    <dgm:cxn modelId="{8E685326-8694-46DD-AC77-30D07AEA4A1A}" type="presOf" srcId="{B767DE2B-E292-44DC-83CE-E777DCBC27A9}" destId="{C5BCC7EC-A6F5-4627-BC6A-4BC838552146}" srcOrd="0" destOrd="0" presId="urn:microsoft.com/office/officeart/2005/8/layout/hierarchy5"/>
    <dgm:cxn modelId="{69B60999-3DFA-4C76-9D29-0F276B37CBE0}" type="presParOf" srcId="{EB42CA00-9262-44E8-AADD-B06E5EF0DBCA}" destId="{7F244006-027F-47D1-985E-F9CC3A375B7B}" srcOrd="0" destOrd="0" presId="urn:microsoft.com/office/officeart/2005/8/layout/hierarchy5"/>
    <dgm:cxn modelId="{7A086D87-80A6-402C-B885-C158FB071EE4}" type="presParOf" srcId="{7F244006-027F-47D1-985E-F9CC3A375B7B}" destId="{BE7FA140-75F1-468B-8E1C-C2EF74552FF4}" srcOrd="0" destOrd="0" presId="urn:microsoft.com/office/officeart/2005/8/layout/hierarchy5"/>
    <dgm:cxn modelId="{745A4C33-5462-4A0B-A0AE-EBACD5CBDECA}" type="presParOf" srcId="{7F244006-027F-47D1-985E-F9CC3A375B7B}" destId="{CEE6A8FF-2F9B-4400-A062-A4077AE000FA}" srcOrd="1" destOrd="0" presId="urn:microsoft.com/office/officeart/2005/8/layout/hierarchy5"/>
    <dgm:cxn modelId="{2765D4D4-7536-4A9E-97FF-896ECAE6CEEB}" type="presParOf" srcId="{CEE6A8FF-2F9B-4400-A062-A4077AE000FA}" destId="{80AECA72-C954-43BD-901A-CD5E00F536AD}" srcOrd="0" destOrd="0" presId="urn:microsoft.com/office/officeart/2005/8/layout/hierarchy5"/>
    <dgm:cxn modelId="{8F5818C3-BCA1-424F-B882-B37AFC8F3CDE}" type="presParOf" srcId="{80AECA72-C954-43BD-901A-CD5E00F536AD}" destId="{F91660F9-9DA9-4BCC-BFF0-439EB06AE054}" srcOrd="0" destOrd="0" presId="urn:microsoft.com/office/officeart/2005/8/layout/hierarchy5"/>
    <dgm:cxn modelId="{F2CC3F21-FE20-4447-A349-FEA912FC5BF9}" type="presParOf" srcId="{80AECA72-C954-43BD-901A-CD5E00F536AD}" destId="{2E5DF35B-15FC-48E8-8946-1C41EDDA5DD4}" srcOrd="1" destOrd="0" presId="urn:microsoft.com/office/officeart/2005/8/layout/hierarchy5"/>
    <dgm:cxn modelId="{742FDFFC-C473-48EF-9877-0E2E5BB9FA28}" type="presParOf" srcId="{2E5DF35B-15FC-48E8-8946-1C41EDDA5DD4}" destId="{C6498F3A-E144-4EA7-8583-38A843F262DC}" srcOrd="0" destOrd="0" presId="urn:microsoft.com/office/officeart/2005/8/layout/hierarchy5"/>
    <dgm:cxn modelId="{6B174AED-D3EF-47D2-BA76-D4C632434283}" type="presParOf" srcId="{C6498F3A-E144-4EA7-8583-38A843F262DC}" destId="{245EF6D8-6C8D-4151-9528-206752E7FFA9}" srcOrd="0" destOrd="0" presId="urn:microsoft.com/office/officeart/2005/8/layout/hierarchy5"/>
    <dgm:cxn modelId="{31696796-FC51-4264-9A37-348505705837}" type="presParOf" srcId="{2E5DF35B-15FC-48E8-8946-1C41EDDA5DD4}" destId="{F0A850C1-0246-4FCD-BFCB-4C4618571A15}" srcOrd="1" destOrd="0" presId="urn:microsoft.com/office/officeart/2005/8/layout/hierarchy5"/>
    <dgm:cxn modelId="{E9A5BFB0-D45E-4A56-BB10-FC5C2580F109}" type="presParOf" srcId="{F0A850C1-0246-4FCD-BFCB-4C4618571A15}" destId="{9C373FCA-D79C-44D5-9300-9CFC761AA81C}" srcOrd="0" destOrd="0" presId="urn:microsoft.com/office/officeart/2005/8/layout/hierarchy5"/>
    <dgm:cxn modelId="{BF6F266B-D0CE-41D5-8F6A-D597ABD42D22}" type="presParOf" srcId="{F0A850C1-0246-4FCD-BFCB-4C4618571A15}" destId="{37311B4B-76CC-404A-A442-770C06213E2F}" srcOrd="1" destOrd="0" presId="urn:microsoft.com/office/officeart/2005/8/layout/hierarchy5"/>
    <dgm:cxn modelId="{DA01BA55-EC15-4A57-99E7-4F691EE0690A}" type="presParOf" srcId="{37311B4B-76CC-404A-A442-770C06213E2F}" destId="{2EFC976A-E189-42FD-A925-E7416E513E1E}" srcOrd="0" destOrd="0" presId="urn:microsoft.com/office/officeart/2005/8/layout/hierarchy5"/>
    <dgm:cxn modelId="{D4DA2AD0-7310-437E-8298-F28848C30CFE}" type="presParOf" srcId="{2EFC976A-E189-42FD-A925-E7416E513E1E}" destId="{A6B2D96E-6EE8-4A4F-B714-6C0D69619469}" srcOrd="0" destOrd="0" presId="urn:microsoft.com/office/officeart/2005/8/layout/hierarchy5"/>
    <dgm:cxn modelId="{7A6D20C0-0363-4BA2-B399-DF04CDF5D46D}" type="presParOf" srcId="{37311B4B-76CC-404A-A442-770C06213E2F}" destId="{7A40B749-5034-4B2D-B247-6FFA187F86CD}" srcOrd="1" destOrd="0" presId="urn:microsoft.com/office/officeart/2005/8/layout/hierarchy5"/>
    <dgm:cxn modelId="{E6DF60BB-EDE9-4D45-8ED0-B4D1D042A8B6}" type="presParOf" srcId="{7A40B749-5034-4B2D-B247-6FFA187F86CD}" destId="{1840529B-EB1A-49D8-A620-57054FC55365}" srcOrd="0" destOrd="0" presId="urn:microsoft.com/office/officeart/2005/8/layout/hierarchy5"/>
    <dgm:cxn modelId="{E4F637F3-193D-4208-95D9-87EE62F23541}" type="presParOf" srcId="{7A40B749-5034-4B2D-B247-6FFA187F86CD}" destId="{9955EA75-6B6E-4402-A2B6-DB8E7AF9E398}" srcOrd="1" destOrd="0" presId="urn:microsoft.com/office/officeart/2005/8/layout/hierarchy5"/>
    <dgm:cxn modelId="{CF5DF3F4-7FD6-41D2-AD88-F5E4BBA72CBB}" type="presParOf" srcId="{9955EA75-6B6E-4402-A2B6-DB8E7AF9E398}" destId="{B5DE5F4C-4E3F-4757-9D9B-D92B8CBCB1D1}" srcOrd="0" destOrd="0" presId="urn:microsoft.com/office/officeart/2005/8/layout/hierarchy5"/>
    <dgm:cxn modelId="{D566EA4B-9B56-4B7D-AF64-F7E79419E423}" type="presParOf" srcId="{B5DE5F4C-4E3F-4757-9D9B-D92B8CBCB1D1}" destId="{8AEB59F5-A27A-456F-BF44-FDC8C7CBEC68}" srcOrd="0" destOrd="0" presId="urn:microsoft.com/office/officeart/2005/8/layout/hierarchy5"/>
    <dgm:cxn modelId="{E2DB6261-D8D3-42BC-8CA8-1BCBDEF47C9D}" type="presParOf" srcId="{9955EA75-6B6E-4402-A2B6-DB8E7AF9E398}" destId="{6814AA66-9531-4FF3-992C-5DCB705AF926}" srcOrd="1" destOrd="0" presId="urn:microsoft.com/office/officeart/2005/8/layout/hierarchy5"/>
    <dgm:cxn modelId="{7FE791B3-B08E-439A-B056-D9DE87A3F6BE}" type="presParOf" srcId="{6814AA66-9531-4FF3-992C-5DCB705AF926}" destId="{A5B62940-8BF5-480D-AAC2-029B26C16C98}" srcOrd="0" destOrd="0" presId="urn:microsoft.com/office/officeart/2005/8/layout/hierarchy5"/>
    <dgm:cxn modelId="{549A1DD3-0732-4E8A-9BF6-D9D5AABB662C}" type="presParOf" srcId="{6814AA66-9531-4FF3-992C-5DCB705AF926}" destId="{F72FBE64-393E-4624-AD8C-1A9A7AF8CC6E}" srcOrd="1" destOrd="0" presId="urn:microsoft.com/office/officeart/2005/8/layout/hierarchy5"/>
    <dgm:cxn modelId="{BE691673-3EAD-4AC4-B20A-E9465EDB2BF9}" type="presParOf" srcId="{9955EA75-6B6E-4402-A2B6-DB8E7AF9E398}" destId="{01A08821-9AAF-4562-B87B-1A54E677CDF0}" srcOrd="2" destOrd="0" presId="urn:microsoft.com/office/officeart/2005/8/layout/hierarchy5"/>
    <dgm:cxn modelId="{C7D3F2E5-0457-4395-9F16-D8140CCE02D8}" type="presParOf" srcId="{01A08821-9AAF-4562-B87B-1A54E677CDF0}" destId="{C0A196D2-B07A-4D20-A150-B2C94A87F79E}" srcOrd="0" destOrd="0" presId="urn:microsoft.com/office/officeart/2005/8/layout/hierarchy5"/>
    <dgm:cxn modelId="{2E002F55-1609-4D57-830F-C08360784BBC}" type="presParOf" srcId="{9955EA75-6B6E-4402-A2B6-DB8E7AF9E398}" destId="{113C5CA6-A700-497C-8A52-48A7C7CDD820}" srcOrd="3" destOrd="0" presId="urn:microsoft.com/office/officeart/2005/8/layout/hierarchy5"/>
    <dgm:cxn modelId="{9E67B78C-8E0D-4D8E-86C6-F91C71B0B0FD}" type="presParOf" srcId="{113C5CA6-A700-497C-8A52-48A7C7CDD820}" destId="{59F93108-6DBB-4166-8184-49AF43B15928}" srcOrd="0" destOrd="0" presId="urn:microsoft.com/office/officeart/2005/8/layout/hierarchy5"/>
    <dgm:cxn modelId="{D6984C6B-6514-4AA3-B4BC-A714F45FC172}" type="presParOf" srcId="{113C5CA6-A700-497C-8A52-48A7C7CDD820}" destId="{EEAFE133-6948-4C6F-8231-79E6EBDD9ED3}" srcOrd="1" destOrd="0" presId="urn:microsoft.com/office/officeart/2005/8/layout/hierarchy5"/>
    <dgm:cxn modelId="{48806586-C64C-4547-B307-E8FD5017E505}" type="presParOf" srcId="{9955EA75-6B6E-4402-A2B6-DB8E7AF9E398}" destId="{7C4F2FFA-A89D-4D85-8425-9537B2337633}" srcOrd="4" destOrd="0" presId="urn:microsoft.com/office/officeart/2005/8/layout/hierarchy5"/>
    <dgm:cxn modelId="{0010017C-292C-4A30-A8E8-5249C151B7CB}" type="presParOf" srcId="{7C4F2FFA-A89D-4D85-8425-9537B2337633}" destId="{B476407D-99CA-4F80-9642-BA5ED0D89D98}" srcOrd="0" destOrd="0" presId="urn:microsoft.com/office/officeart/2005/8/layout/hierarchy5"/>
    <dgm:cxn modelId="{0284647F-A09E-4F89-8704-0814CAB35C16}" type="presParOf" srcId="{9955EA75-6B6E-4402-A2B6-DB8E7AF9E398}" destId="{8D9B375E-073B-4E67-8938-4B08067452A5}" srcOrd="5" destOrd="0" presId="urn:microsoft.com/office/officeart/2005/8/layout/hierarchy5"/>
    <dgm:cxn modelId="{EA975ACA-7194-43E7-BAEE-D94739D24387}" type="presParOf" srcId="{8D9B375E-073B-4E67-8938-4B08067452A5}" destId="{35EDD057-D0E6-4721-A13F-5474F1075904}" srcOrd="0" destOrd="0" presId="urn:microsoft.com/office/officeart/2005/8/layout/hierarchy5"/>
    <dgm:cxn modelId="{B41DBDAB-4834-4148-9B4B-E29637BD24E8}" type="presParOf" srcId="{8D9B375E-073B-4E67-8938-4B08067452A5}" destId="{A00D8E38-F1C3-427B-AEC9-B91BCBFC2369}" srcOrd="1" destOrd="0" presId="urn:microsoft.com/office/officeart/2005/8/layout/hierarchy5"/>
    <dgm:cxn modelId="{37763738-FFAE-418C-A3A6-83122CC82CA6}" type="presParOf" srcId="{37311B4B-76CC-404A-A442-770C06213E2F}" destId="{16069183-BA56-4ABB-A35C-1A9ACFCC121E}" srcOrd="2" destOrd="0" presId="urn:microsoft.com/office/officeart/2005/8/layout/hierarchy5"/>
    <dgm:cxn modelId="{E3C79952-5417-4949-ACDA-2554EF194654}" type="presParOf" srcId="{16069183-BA56-4ABB-A35C-1A9ACFCC121E}" destId="{B73FAD14-B540-4837-A746-15F62D4C77AC}" srcOrd="0" destOrd="0" presId="urn:microsoft.com/office/officeart/2005/8/layout/hierarchy5"/>
    <dgm:cxn modelId="{ACE74928-1EA7-4453-848C-7B4AABF47F12}" type="presParOf" srcId="{37311B4B-76CC-404A-A442-770C06213E2F}" destId="{CF4ACF99-008F-4471-BF66-1C3925176A4C}" srcOrd="3" destOrd="0" presId="urn:microsoft.com/office/officeart/2005/8/layout/hierarchy5"/>
    <dgm:cxn modelId="{3E04C8B3-460E-4ECB-BEA1-B369902690B1}" type="presParOf" srcId="{CF4ACF99-008F-4471-BF66-1C3925176A4C}" destId="{963C06EB-65B1-43EE-8802-EED0862D045B}" srcOrd="0" destOrd="0" presId="urn:microsoft.com/office/officeart/2005/8/layout/hierarchy5"/>
    <dgm:cxn modelId="{10DFAED2-450D-4EF7-9AE9-8C67F56DA6DD}" type="presParOf" srcId="{CF4ACF99-008F-4471-BF66-1C3925176A4C}" destId="{82C8697E-2BB1-425F-8D19-6094B271E082}" srcOrd="1" destOrd="0" presId="urn:microsoft.com/office/officeart/2005/8/layout/hierarchy5"/>
    <dgm:cxn modelId="{BD7B17D7-555E-4FD5-93D7-54A79DE81826}" type="presParOf" srcId="{2E5DF35B-15FC-48E8-8946-1C41EDDA5DD4}" destId="{7D2594EB-30C5-4A0B-8F2C-F2E26791F7A1}" srcOrd="2" destOrd="0" presId="urn:microsoft.com/office/officeart/2005/8/layout/hierarchy5"/>
    <dgm:cxn modelId="{22ED6550-678C-4C21-8A86-940941BED779}" type="presParOf" srcId="{7D2594EB-30C5-4A0B-8F2C-F2E26791F7A1}" destId="{C9D0DD3C-8492-48B7-AFEE-C38D9F957FD4}" srcOrd="0" destOrd="0" presId="urn:microsoft.com/office/officeart/2005/8/layout/hierarchy5"/>
    <dgm:cxn modelId="{CDD34B96-87BD-49AF-B7F7-53853ED8F7B9}" type="presParOf" srcId="{2E5DF35B-15FC-48E8-8946-1C41EDDA5DD4}" destId="{54384C5B-E4AD-4771-83CA-EB7A8D18B623}" srcOrd="3" destOrd="0" presId="urn:microsoft.com/office/officeart/2005/8/layout/hierarchy5"/>
    <dgm:cxn modelId="{139538E4-A3D9-4D57-BE7A-16BB31AE6FA9}" type="presParOf" srcId="{54384C5B-E4AD-4771-83CA-EB7A8D18B623}" destId="{C5BCC7EC-A6F5-4627-BC6A-4BC838552146}" srcOrd="0" destOrd="0" presId="urn:microsoft.com/office/officeart/2005/8/layout/hierarchy5"/>
    <dgm:cxn modelId="{AA9839DE-5593-4C56-95F9-BA490999C31A}" type="presParOf" srcId="{54384C5B-E4AD-4771-83CA-EB7A8D18B623}" destId="{A06EC4D9-5BD4-4528-9E4F-C98D1AD806A4}" srcOrd="1" destOrd="0" presId="urn:microsoft.com/office/officeart/2005/8/layout/hierarchy5"/>
    <dgm:cxn modelId="{458C037A-6FB5-44AD-B28A-1A0F41B86D3F}" type="presParOf" srcId="{A06EC4D9-5BD4-4528-9E4F-C98D1AD806A4}" destId="{A156A696-0C1B-4F09-B916-BD5469990C82}" srcOrd="0" destOrd="0" presId="urn:microsoft.com/office/officeart/2005/8/layout/hierarchy5"/>
    <dgm:cxn modelId="{CC48C6DB-2546-4827-B95C-90FCC9AF1E6E}" type="presParOf" srcId="{A156A696-0C1B-4F09-B916-BD5469990C82}" destId="{4BB7E337-7BD3-4BA9-BF71-7485A8FCE54F}" srcOrd="0" destOrd="0" presId="urn:microsoft.com/office/officeart/2005/8/layout/hierarchy5"/>
    <dgm:cxn modelId="{92D7C2B3-D659-450A-9C32-1F0263555E80}" type="presParOf" srcId="{A06EC4D9-5BD4-4528-9E4F-C98D1AD806A4}" destId="{5D0360BF-C0AF-48FE-862A-008CEBB94267}" srcOrd="1" destOrd="0" presId="urn:microsoft.com/office/officeart/2005/8/layout/hierarchy5"/>
    <dgm:cxn modelId="{0942086D-D1E9-4F3F-BC26-07E3AA50D9F7}" type="presParOf" srcId="{5D0360BF-C0AF-48FE-862A-008CEBB94267}" destId="{2F1721C2-F78B-46BD-9792-595200B3B00D}" srcOrd="0" destOrd="0" presId="urn:microsoft.com/office/officeart/2005/8/layout/hierarchy5"/>
    <dgm:cxn modelId="{2EEA1193-AE12-4FBD-8A2D-AB120DF49316}" type="presParOf" srcId="{5D0360BF-C0AF-48FE-862A-008CEBB94267}" destId="{2DC4A343-78DE-4F15-BF8F-097A5CD56B39}" srcOrd="1" destOrd="0" presId="urn:microsoft.com/office/officeart/2005/8/layout/hierarchy5"/>
    <dgm:cxn modelId="{97914452-69DF-48D2-87EA-D5B743A77961}" type="presParOf" srcId="{2DC4A343-78DE-4F15-BF8F-097A5CD56B39}" destId="{2EBD741D-113D-45AA-8319-AACC6861E0D4}" srcOrd="0" destOrd="0" presId="urn:microsoft.com/office/officeart/2005/8/layout/hierarchy5"/>
    <dgm:cxn modelId="{EF1EDD21-8BFB-4095-B273-140B542B5E7E}" type="presParOf" srcId="{2EBD741D-113D-45AA-8319-AACC6861E0D4}" destId="{B1568529-6795-45B9-BBEA-0FB2B872E9C8}" srcOrd="0" destOrd="0" presId="urn:microsoft.com/office/officeart/2005/8/layout/hierarchy5"/>
    <dgm:cxn modelId="{2DDD7EC1-D99B-428C-8297-D57F51A6236F}" type="presParOf" srcId="{2DC4A343-78DE-4F15-BF8F-097A5CD56B39}" destId="{003B1430-932E-408B-BA74-3653E1504FC3}" srcOrd="1" destOrd="0" presId="urn:microsoft.com/office/officeart/2005/8/layout/hierarchy5"/>
    <dgm:cxn modelId="{E9FC5D74-CF96-42E7-8FA0-3C48CB1B0E7C}" type="presParOf" srcId="{003B1430-932E-408B-BA74-3653E1504FC3}" destId="{78AF869F-0C39-4C67-B8A9-702E454BBDA0}" srcOrd="0" destOrd="0" presId="urn:microsoft.com/office/officeart/2005/8/layout/hierarchy5"/>
    <dgm:cxn modelId="{8288C682-8C20-4205-AEDE-A3A913E5FB1F}" type="presParOf" srcId="{003B1430-932E-408B-BA74-3653E1504FC3}" destId="{F869CDCB-5116-49C6-86F5-DFE8BF5E87AC}" srcOrd="1" destOrd="0" presId="urn:microsoft.com/office/officeart/2005/8/layout/hierarchy5"/>
    <dgm:cxn modelId="{A5F45863-C288-40EC-B3DD-56DC6AB74EEB}" type="presParOf" srcId="{2DC4A343-78DE-4F15-BF8F-097A5CD56B39}" destId="{AABAAF17-BB44-4B19-9101-D4AD256CCD1E}" srcOrd="2" destOrd="0" presId="urn:microsoft.com/office/officeart/2005/8/layout/hierarchy5"/>
    <dgm:cxn modelId="{3E0285DF-D1FA-405A-A411-2C39D5BF6588}" type="presParOf" srcId="{AABAAF17-BB44-4B19-9101-D4AD256CCD1E}" destId="{B03111F4-B52F-419E-8B51-F44F1E5A5A6A}" srcOrd="0" destOrd="0" presId="urn:microsoft.com/office/officeart/2005/8/layout/hierarchy5"/>
    <dgm:cxn modelId="{FD1C09AC-C2DE-44B1-A800-041E74D2477F}" type="presParOf" srcId="{2DC4A343-78DE-4F15-BF8F-097A5CD56B39}" destId="{B4E984CB-A381-4541-85A8-E1E90A9FA478}" srcOrd="3" destOrd="0" presId="urn:microsoft.com/office/officeart/2005/8/layout/hierarchy5"/>
    <dgm:cxn modelId="{5AD2181E-603F-49F4-90BE-1B17E5D19307}" type="presParOf" srcId="{B4E984CB-A381-4541-85A8-E1E90A9FA478}" destId="{1E093CEC-59E8-4F75-9BE0-DAC937E232D7}" srcOrd="0" destOrd="0" presId="urn:microsoft.com/office/officeart/2005/8/layout/hierarchy5"/>
    <dgm:cxn modelId="{D2792E38-4D05-4EB4-A138-8E1E2D522333}" type="presParOf" srcId="{B4E984CB-A381-4541-85A8-E1E90A9FA478}" destId="{F4EBCBED-7131-4213-A4B7-A318D335EA4B}" srcOrd="1" destOrd="0" presId="urn:microsoft.com/office/officeart/2005/8/layout/hierarchy5"/>
    <dgm:cxn modelId="{94CB0FD5-BCE2-44F2-AE06-E10CABB50660}" type="presParOf" srcId="{2E5DF35B-15FC-48E8-8946-1C41EDDA5DD4}" destId="{688300FA-DE9B-4E5E-B85E-940A1FB73DC4}" srcOrd="4" destOrd="0" presId="urn:microsoft.com/office/officeart/2005/8/layout/hierarchy5"/>
    <dgm:cxn modelId="{7057AF10-D30F-4BC8-94A7-A479C22C2A52}" type="presParOf" srcId="{688300FA-DE9B-4E5E-B85E-940A1FB73DC4}" destId="{66C70094-7755-4DB5-8E35-C8FBA92C6F30}" srcOrd="0" destOrd="0" presId="urn:microsoft.com/office/officeart/2005/8/layout/hierarchy5"/>
    <dgm:cxn modelId="{99F9D8BB-EB69-4045-BCDF-1976E9ADC0B5}" type="presParOf" srcId="{2E5DF35B-15FC-48E8-8946-1C41EDDA5DD4}" destId="{481E0444-52A9-47CE-B810-8799D391A63E}" srcOrd="5" destOrd="0" presId="urn:microsoft.com/office/officeart/2005/8/layout/hierarchy5"/>
    <dgm:cxn modelId="{086A8E36-9A08-489A-8366-FD24596290CA}" type="presParOf" srcId="{481E0444-52A9-47CE-B810-8799D391A63E}" destId="{50C0B034-6B0F-480C-94D8-4BF748885748}" srcOrd="0" destOrd="0" presId="urn:microsoft.com/office/officeart/2005/8/layout/hierarchy5"/>
    <dgm:cxn modelId="{E47D992B-29A3-43FA-9E7A-9874A5208397}" type="presParOf" srcId="{481E0444-52A9-47CE-B810-8799D391A63E}" destId="{ED58B549-436B-4498-8D8E-9BAE8112F271}" srcOrd="1" destOrd="0" presId="urn:microsoft.com/office/officeart/2005/8/layout/hierarchy5"/>
    <dgm:cxn modelId="{1A5178BE-7D30-4F45-8EF6-7311767B17A5}" type="presParOf" srcId="{ED58B549-436B-4498-8D8E-9BAE8112F271}" destId="{9DAFE529-4B14-4842-B3C9-AAFAA70061A1}" srcOrd="0" destOrd="0" presId="urn:microsoft.com/office/officeart/2005/8/layout/hierarchy5"/>
    <dgm:cxn modelId="{9921D74B-069F-4F6A-ABAF-574C3E6C2F9D}" type="presParOf" srcId="{9DAFE529-4B14-4842-B3C9-AAFAA70061A1}" destId="{A29CA13D-FDE6-4F91-943D-CE5A568AE5F6}" srcOrd="0" destOrd="0" presId="urn:microsoft.com/office/officeart/2005/8/layout/hierarchy5"/>
    <dgm:cxn modelId="{3119118D-8876-41A0-A8EC-ABE04A728D64}" type="presParOf" srcId="{ED58B549-436B-4498-8D8E-9BAE8112F271}" destId="{41D3A1AE-F375-4C0D-A843-783E4E86D0B4}" srcOrd="1" destOrd="0" presId="urn:microsoft.com/office/officeart/2005/8/layout/hierarchy5"/>
    <dgm:cxn modelId="{A590A24E-511B-484F-B24C-3130AB33159D}" type="presParOf" srcId="{41D3A1AE-F375-4C0D-A843-783E4E86D0B4}" destId="{29A171E6-D0F5-4470-87A3-7E26241F201D}" srcOrd="0" destOrd="0" presId="urn:microsoft.com/office/officeart/2005/8/layout/hierarchy5"/>
    <dgm:cxn modelId="{CAED37C1-250E-43C8-B3D4-CAACE83252B2}" type="presParOf" srcId="{41D3A1AE-F375-4C0D-A843-783E4E86D0B4}" destId="{76FC3DA3-9359-4B60-B2FA-5190649364B0}" srcOrd="1" destOrd="0" presId="urn:microsoft.com/office/officeart/2005/8/layout/hierarchy5"/>
    <dgm:cxn modelId="{6F00F5A8-5303-48B4-BAAC-88A2AA72BADD}" type="presParOf" srcId="{EB42CA00-9262-44E8-AADD-B06E5EF0DBCA}" destId="{9262314E-B74D-488A-BDEB-7310280F9A07}" srcOrd="1" destOrd="0" presId="urn:microsoft.com/office/officeart/2005/8/layout/hierarchy5"/>
    <dgm:cxn modelId="{F22ABE5C-FE2F-480C-BE7C-73C9DE9A06A4}" type="presParOf" srcId="{9262314E-B74D-488A-BDEB-7310280F9A07}" destId="{88076520-6ECE-4B53-84C2-A2A868D49146}" srcOrd="0" destOrd="0" presId="urn:microsoft.com/office/officeart/2005/8/layout/hierarchy5"/>
    <dgm:cxn modelId="{9D3BB48F-1193-40B1-AD95-1092BFD5CD12}" type="presParOf" srcId="{88076520-6ECE-4B53-84C2-A2A868D49146}" destId="{D1EC4036-C7E1-44E0-AEA0-98FFB3FE7BB1}" srcOrd="0" destOrd="0" presId="urn:microsoft.com/office/officeart/2005/8/layout/hierarchy5"/>
    <dgm:cxn modelId="{2D6E8675-650A-4AFB-B333-D05B7D799C9A}" type="presParOf" srcId="{88076520-6ECE-4B53-84C2-A2A868D49146}" destId="{42A4B708-E792-4DCB-AF11-225DE7B0D727}" srcOrd="1" destOrd="0" presId="urn:microsoft.com/office/officeart/2005/8/layout/hierarchy5"/>
    <dgm:cxn modelId="{A04E8021-FED7-41C7-AF05-3B6D31CC8AE2}" type="presParOf" srcId="{9262314E-B74D-488A-BDEB-7310280F9A07}" destId="{E2D75C93-783D-41A6-AB62-D0815CA2316A}" srcOrd="1" destOrd="0" presId="urn:microsoft.com/office/officeart/2005/8/layout/hierarchy5"/>
    <dgm:cxn modelId="{4D7558ED-A1E9-49D8-99E4-B53B349D4813}" type="presParOf" srcId="{E2D75C93-783D-41A6-AB62-D0815CA2316A}" destId="{B0616FCE-F5EF-4774-B31D-C177C83C0C58}" srcOrd="0" destOrd="0" presId="urn:microsoft.com/office/officeart/2005/8/layout/hierarchy5"/>
    <dgm:cxn modelId="{3FD75CAD-A5B4-443D-87A9-121D3EC560D4}" type="presParOf" srcId="{9262314E-B74D-488A-BDEB-7310280F9A07}" destId="{74AA7978-E32D-41A4-A96F-6D6B16578A88}" srcOrd="2" destOrd="0" presId="urn:microsoft.com/office/officeart/2005/8/layout/hierarchy5"/>
    <dgm:cxn modelId="{A27A9E0F-1D3B-45DD-A353-CAACC4973859}" type="presParOf" srcId="{74AA7978-E32D-41A4-A96F-6D6B16578A88}" destId="{0D6F98C8-D1DE-4457-98E2-40DDFABA23EA}" srcOrd="0" destOrd="0" presId="urn:microsoft.com/office/officeart/2005/8/layout/hierarchy5"/>
    <dgm:cxn modelId="{11F8FF4D-BDDA-4854-A1DA-C59C9AB3BEA3}" type="presParOf" srcId="{74AA7978-E32D-41A4-A96F-6D6B16578A88}" destId="{CF33B9AF-8160-44F3-B1AB-1EE5DD83CE84}" srcOrd="1" destOrd="0" presId="urn:microsoft.com/office/officeart/2005/8/layout/hierarchy5"/>
    <dgm:cxn modelId="{4AFF127A-ED70-4146-A793-93C6AA7BE0BB}" type="presParOf" srcId="{9262314E-B74D-488A-BDEB-7310280F9A07}" destId="{5F43C73E-33FC-4930-8E01-3E9591634810}" srcOrd="3" destOrd="0" presId="urn:microsoft.com/office/officeart/2005/8/layout/hierarchy5"/>
    <dgm:cxn modelId="{6E916098-9070-47D8-A121-E75C14848B26}" type="presParOf" srcId="{5F43C73E-33FC-4930-8E01-3E9591634810}" destId="{E622DE46-3EAD-4FDB-91C2-CF945C261B12}" srcOrd="0" destOrd="0" presId="urn:microsoft.com/office/officeart/2005/8/layout/hierarchy5"/>
    <dgm:cxn modelId="{6EB5136F-8EEB-4578-948D-861F8B73CC77}" type="presParOf" srcId="{9262314E-B74D-488A-BDEB-7310280F9A07}" destId="{14E30126-8FD5-4CF3-8B05-70F7A1227F68}" srcOrd="4" destOrd="0" presId="urn:microsoft.com/office/officeart/2005/8/layout/hierarchy5"/>
    <dgm:cxn modelId="{A8C63A43-2A3E-4559-936C-7F0AAE8335DC}" type="presParOf" srcId="{14E30126-8FD5-4CF3-8B05-70F7A1227F68}" destId="{21241AFA-FCEE-4A6D-A14B-247E170E9E6D}" srcOrd="0" destOrd="0" presId="urn:microsoft.com/office/officeart/2005/8/layout/hierarchy5"/>
    <dgm:cxn modelId="{A5527034-5905-4E49-857D-75A57CBDE57E}" type="presParOf" srcId="{14E30126-8FD5-4CF3-8B05-70F7A1227F68}" destId="{CEF2B53F-F02F-4C5F-8AE7-07E4DFB6D25C}" srcOrd="1" destOrd="0" presId="urn:microsoft.com/office/officeart/2005/8/layout/hierarchy5"/>
    <dgm:cxn modelId="{B7BBD77B-FBFA-4ADB-8F1F-E68825830DC5}" type="presParOf" srcId="{9262314E-B74D-488A-BDEB-7310280F9A07}" destId="{1345F2B9-FBF8-4826-A674-00CA2C3F8369}" srcOrd="5" destOrd="0" presId="urn:microsoft.com/office/officeart/2005/8/layout/hierarchy5"/>
    <dgm:cxn modelId="{BDC67AF7-41CD-497A-A068-C061BB54C3A6}" type="presParOf" srcId="{1345F2B9-FBF8-4826-A674-00CA2C3F8369}" destId="{3FC3BBEE-C06C-4B77-867D-A75AD5D88B67}" srcOrd="0" destOrd="0" presId="urn:microsoft.com/office/officeart/2005/8/layout/hierarchy5"/>
    <dgm:cxn modelId="{EE853363-9862-434A-82E1-354BC00FA78D}" type="presParOf" srcId="{9262314E-B74D-488A-BDEB-7310280F9A07}" destId="{9246E46E-4A3C-4BD4-9050-008983002D00}" srcOrd="6" destOrd="0" presId="urn:microsoft.com/office/officeart/2005/8/layout/hierarchy5"/>
    <dgm:cxn modelId="{65B3783F-6CA5-4D01-920E-394B656A0300}" type="presParOf" srcId="{9246E46E-4A3C-4BD4-9050-008983002D00}" destId="{4A25EE1B-E91C-4724-B4AB-1F97ED02D5AA}" srcOrd="0" destOrd="0" presId="urn:microsoft.com/office/officeart/2005/8/layout/hierarchy5"/>
    <dgm:cxn modelId="{BDA65FBD-5C4B-4037-84BF-1E392E8C0B4C}" type="presParOf" srcId="{9246E46E-4A3C-4BD4-9050-008983002D00}" destId="{89C59674-22CC-4158-BFF0-70CF6825ABD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083C0CA-3FB6-47D7-9DC2-E2C6C524134E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762EF590-160F-420F-9AE1-49883AA928AE}">
      <dgm:prSet phldrT="[Text]"/>
      <dgm:spPr/>
      <dgm:t>
        <a:bodyPr/>
        <a:lstStyle/>
        <a:p>
          <a:r>
            <a:rPr lang="nb-NO"/>
            <a:t>EU</a:t>
          </a:r>
        </a:p>
      </dgm:t>
    </dgm:pt>
    <dgm:pt modelId="{01162254-2848-468D-9D3F-B3E1D82D3659}" type="parTrans" cxnId="{A66EE9FA-AA4D-4D47-BB77-2EACB11BC450}">
      <dgm:prSet/>
      <dgm:spPr/>
      <dgm:t>
        <a:bodyPr/>
        <a:lstStyle/>
        <a:p>
          <a:endParaRPr lang="nb-NO"/>
        </a:p>
      </dgm:t>
    </dgm:pt>
    <dgm:pt modelId="{BAF6B390-E4A5-4905-9963-E10E9D044758}" type="sibTrans" cxnId="{A66EE9FA-AA4D-4D47-BB77-2EACB11BC450}">
      <dgm:prSet/>
      <dgm:spPr/>
      <dgm:t>
        <a:bodyPr/>
        <a:lstStyle/>
        <a:p>
          <a:endParaRPr lang="nb-NO"/>
        </a:p>
      </dgm:t>
    </dgm:pt>
    <dgm:pt modelId="{C6C784A2-4A7D-43EF-8E3F-984CEF035ECE}">
      <dgm:prSet phldrT="[Text]"/>
      <dgm:spPr/>
      <dgm:t>
        <a:bodyPr/>
        <a:lstStyle/>
        <a:p>
          <a:r>
            <a:rPr lang="nb-NO"/>
            <a:t>H2020</a:t>
          </a:r>
        </a:p>
      </dgm:t>
    </dgm:pt>
    <dgm:pt modelId="{6F7D707B-F7A3-4832-BE20-1352AD79E0E2}" type="parTrans" cxnId="{F4D63BC3-513A-4C28-BDA1-96CEA16B4165}">
      <dgm:prSet/>
      <dgm:spPr/>
      <dgm:t>
        <a:bodyPr/>
        <a:lstStyle/>
        <a:p>
          <a:endParaRPr lang="nb-NO"/>
        </a:p>
      </dgm:t>
    </dgm:pt>
    <dgm:pt modelId="{8D83A46D-5D2D-4FF3-A4B6-B34629373978}" type="sibTrans" cxnId="{F4D63BC3-513A-4C28-BDA1-96CEA16B4165}">
      <dgm:prSet/>
      <dgm:spPr/>
      <dgm:t>
        <a:bodyPr/>
        <a:lstStyle/>
        <a:p>
          <a:endParaRPr lang="nb-NO"/>
        </a:p>
      </dgm:t>
    </dgm:pt>
    <dgm:pt modelId="{80A6B342-B8A7-47A3-B530-17718B3AAE25}">
      <dgm:prSet phldrT="[Text]"/>
      <dgm:spPr/>
      <dgm:t>
        <a:bodyPr/>
        <a:lstStyle/>
        <a:p>
          <a:r>
            <a:rPr lang="nb-NO"/>
            <a:t>PreventIT</a:t>
          </a:r>
        </a:p>
      </dgm:t>
    </dgm:pt>
    <dgm:pt modelId="{10C88997-CC8C-4B8C-9053-34A7042019AC}" type="parTrans" cxnId="{0AF0AA52-269F-4B8F-B242-DD43502DC574}">
      <dgm:prSet/>
      <dgm:spPr/>
      <dgm:t>
        <a:bodyPr/>
        <a:lstStyle/>
        <a:p>
          <a:endParaRPr lang="nb-NO"/>
        </a:p>
      </dgm:t>
    </dgm:pt>
    <dgm:pt modelId="{B7CB029D-30ED-4C61-B4C5-6E860BFEA3A2}" type="sibTrans" cxnId="{0AF0AA52-269F-4B8F-B242-DD43502DC574}">
      <dgm:prSet/>
      <dgm:spPr/>
      <dgm:t>
        <a:bodyPr/>
        <a:lstStyle/>
        <a:p>
          <a:endParaRPr lang="nb-NO"/>
        </a:p>
      </dgm:t>
    </dgm:pt>
    <dgm:pt modelId="{EF64ACB9-1F7A-4916-B4F0-BE435D3742E4}">
      <dgm:prSet phldrT="[Text]"/>
      <dgm:spPr/>
      <dgm:t>
        <a:bodyPr/>
        <a:lstStyle/>
        <a:p>
          <a:r>
            <a:rPr lang="nb-NO"/>
            <a:t>FP7</a:t>
          </a:r>
        </a:p>
      </dgm:t>
    </dgm:pt>
    <dgm:pt modelId="{A65B4E19-7F7C-4C62-B35B-D4DAE3E68C9D}" type="parTrans" cxnId="{118B3EFF-5AC3-43FC-BDDE-88A25025E51C}">
      <dgm:prSet/>
      <dgm:spPr/>
      <dgm:t>
        <a:bodyPr/>
        <a:lstStyle/>
        <a:p>
          <a:endParaRPr lang="nb-NO"/>
        </a:p>
      </dgm:t>
    </dgm:pt>
    <dgm:pt modelId="{1B521E7D-1B57-4291-BA29-03511A0F757D}" type="sibTrans" cxnId="{118B3EFF-5AC3-43FC-BDDE-88A25025E51C}">
      <dgm:prSet/>
      <dgm:spPr/>
      <dgm:t>
        <a:bodyPr/>
        <a:lstStyle/>
        <a:p>
          <a:endParaRPr lang="nb-NO"/>
        </a:p>
      </dgm:t>
    </dgm:pt>
    <dgm:pt modelId="{36A70192-87D1-4539-BBC7-D48A2D0C89D9}">
      <dgm:prSet phldrT="[Text]"/>
      <dgm:spPr/>
      <dgm:t>
        <a:bodyPr/>
        <a:lstStyle/>
        <a:p>
          <a:r>
            <a:rPr lang="nb-NO"/>
            <a:t>Finansieringskilde</a:t>
          </a:r>
        </a:p>
      </dgm:t>
    </dgm:pt>
    <dgm:pt modelId="{202BE64C-E5A6-4383-BFB2-9BA6F4438CCC}" type="parTrans" cxnId="{65E566E5-75EF-4D84-B6F2-9B9C8BB7BFB3}">
      <dgm:prSet/>
      <dgm:spPr/>
      <dgm:t>
        <a:bodyPr/>
        <a:lstStyle/>
        <a:p>
          <a:endParaRPr lang="nb-NO"/>
        </a:p>
      </dgm:t>
    </dgm:pt>
    <dgm:pt modelId="{020F2221-9E53-437F-A3B4-F5C2E82D79C8}" type="sibTrans" cxnId="{65E566E5-75EF-4D84-B6F2-9B9C8BB7BFB3}">
      <dgm:prSet/>
      <dgm:spPr/>
      <dgm:t>
        <a:bodyPr/>
        <a:lstStyle/>
        <a:p>
          <a:endParaRPr lang="nb-NO"/>
        </a:p>
      </dgm:t>
    </dgm:pt>
    <dgm:pt modelId="{59CC6260-C883-4665-9988-77AE7AE67A81}">
      <dgm:prSet phldrT="[Text]"/>
      <dgm:spPr/>
      <dgm:t>
        <a:bodyPr/>
        <a:lstStyle/>
        <a:p>
          <a:r>
            <a:rPr lang="nb-NO"/>
            <a:t>Spesifisering av finansieringskilde</a:t>
          </a:r>
        </a:p>
      </dgm:t>
    </dgm:pt>
    <dgm:pt modelId="{C0095768-6CF2-46EC-AE9D-0EF09AA26C46}" type="parTrans" cxnId="{092B1F5A-985D-4AA7-9BC6-59215BAC8837}">
      <dgm:prSet/>
      <dgm:spPr/>
      <dgm:t>
        <a:bodyPr/>
        <a:lstStyle/>
        <a:p>
          <a:endParaRPr lang="nb-NO"/>
        </a:p>
      </dgm:t>
    </dgm:pt>
    <dgm:pt modelId="{3967ACEC-70FB-4BCE-8C80-58BCD7CE55D0}" type="sibTrans" cxnId="{092B1F5A-985D-4AA7-9BC6-59215BAC8837}">
      <dgm:prSet/>
      <dgm:spPr/>
      <dgm:t>
        <a:bodyPr/>
        <a:lstStyle/>
        <a:p>
          <a:endParaRPr lang="nb-NO"/>
        </a:p>
      </dgm:t>
    </dgm:pt>
    <dgm:pt modelId="{AD75AA9B-61F9-4782-9667-2016054E002F}">
      <dgm:prSet phldrT="[Text]"/>
      <dgm:spPr/>
      <dgm:t>
        <a:bodyPr/>
        <a:lstStyle/>
        <a:p>
          <a:r>
            <a:rPr lang="nb-NO"/>
            <a:t>Delprosjekt</a:t>
          </a:r>
        </a:p>
      </dgm:t>
    </dgm:pt>
    <dgm:pt modelId="{DE4AF088-E188-4841-8D66-9F8D3127C0D0}" type="parTrans" cxnId="{F2B1FCB4-4716-46AC-B966-A89E82170800}">
      <dgm:prSet/>
      <dgm:spPr/>
      <dgm:t>
        <a:bodyPr/>
        <a:lstStyle/>
        <a:p>
          <a:endParaRPr lang="nb-NO"/>
        </a:p>
      </dgm:t>
    </dgm:pt>
    <dgm:pt modelId="{D8ECF68D-41C1-4481-BA71-51DF3CBA8583}" type="sibTrans" cxnId="{F2B1FCB4-4716-46AC-B966-A89E82170800}">
      <dgm:prSet/>
      <dgm:spPr/>
      <dgm:t>
        <a:bodyPr/>
        <a:lstStyle/>
        <a:p>
          <a:endParaRPr lang="nb-NO"/>
        </a:p>
      </dgm:t>
    </dgm:pt>
    <dgm:pt modelId="{54A4C670-8DD9-4337-9AE8-2689807FFE5A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</a:t>
          </a:r>
        </a:p>
      </dgm:t>
    </dgm:pt>
    <dgm:pt modelId="{E0F1BADC-827A-49B0-9F5F-9634A9BCF4A5}" type="parTrans" cxnId="{3230522F-4A8C-4CFE-8846-90BA5755DB1A}">
      <dgm:prSet/>
      <dgm:spPr/>
      <dgm:t>
        <a:bodyPr/>
        <a:lstStyle/>
        <a:p>
          <a:endParaRPr lang="nb-NO"/>
        </a:p>
      </dgm:t>
    </dgm:pt>
    <dgm:pt modelId="{1D935F62-AADA-4749-806F-C2F9C0ACA8E1}" type="sibTrans" cxnId="{3230522F-4A8C-4CFE-8846-90BA5755DB1A}">
      <dgm:prSet/>
      <dgm:spPr/>
      <dgm:t>
        <a:bodyPr/>
        <a:lstStyle/>
        <a:p>
          <a:endParaRPr lang="nb-NO"/>
        </a:p>
      </dgm:t>
    </dgm:pt>
    <dgm:pt modelId="{F3029CBD-AE6C-438F-896C-F893850C6117}">
      <dgm:prSet phldrT="[Text]"/>
      <dgm:spPr/>
      <dgm:t>
        <a:bodyPr/>
        <a:lstStyle/>
        <a:p>
          <a:r>
            <a:rPr lang="nb-NO" err="1"/>
            <a:t>Exergaming</a:t>
          </a:r>
          <a:endParaRPr lang="nb-NO"/>
        </a:p>
      </dgm:t>
    </dgm:pt>
    <dgm:pt modelId="{06F2231A-1518-4A9A-9B4A-E504F801A1ED}" type="parTrans" cxnId="{376685E6-CA76-4C27-86F7-CBF3E394CEF4}">
      <dgm:prSet/>
      <dgm:spPr/>
      <dgm:t>
        <a:bodyPr/>
        <a:lstStyle/>
        <a:p>
          <a:endParaRPr lang="nb-NO"/>
        </a:p>
      </dgm:t>
    </dgm:pt>
    <dgm:pt modelId="{0B2BA607-A389-483A-BE5F-12697E44AF29}" type="sibTrans" cxnId="{376685E6-CA76-4C27-86F7-CBF3E394CEF4}">
      <dgm:prSet/>
      <dgm:spPr/>
      <dgm:t>
        <a:bodyPr/>
        <a:lstStyle/>
        <a:p>
          <a:endParaRPr lang="nb-NO"/>
        </a:p>
      </dgm:t>
    </dgm:pt>
    <dgm:pt modelId="{EB42CA00-9262-44E8-AADD-B06E5EF0DBCA}" type="pres">
      <dgm:prSet presAssocID="{9083C0CA-3FB6-47D7-9DC2-E2C6C524134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7F244006-027F-47D1-985E-F9CC3A375B7B}" type="pres">
      <dgm:prSet presAssocID="{9083C0CA-3FB6-47D7-9DC2-E2C6C524134E}" presName="hierFlow" presStyleCnt="0"/>
      <dgm:spPr/>
    </dgm:pt>
    <dgm:pt modelId="{BE7FA140-75F1-468B-8E1C-C2EF74552FF4}" type="pres">
      <dgm:prSet presAssocID="{9083C0CA-3FB6-47D7-9DC2-E2C6C524134E}" presName="firstBuf" presStyleCnt="0"/>
      <dgm:spPr/>
    </dgm:pt>
    <dgm:pt modelId="{CEE6A8FF-2F9B-4400-A062-A4077AE000FA}" type="pres">
      <dgm:prSet presAssocID="{9083C0CA-3FB6-47D7-9DC2-E2C6C524134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0AECA72-C954-43BD-901A-CD5E00F536AD}" type="pres">
      <dgm:prSet presAssocID="{762EF590-160F-420F-9AE1-49883AA928AE}" presName="Name17" presStyleCnt="0"/>
      <dgm:spPr/>
    </dgm:pt>
    <dgm:pt modelId="{F91660F9-9DA9-4BCC-BFF0-439EB06AE054}" type="pres">
      <dgm:prSet presAssocID="{762EF590-160F-420F-9AE1-49883AA928AE}" presName="level1Shape" presStyleLbl="node0" presStyleIdx="0" presStyleCnt="1" custScaleX="125192" custScaleY="248978" custLinFactNeighborX="-14456" custLinFactNeighborY="-41010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2E5DF35B-15FC-48E8-8946-1C41EDDA5DD4}" type="pres">
      <dgm:prSet presAssocID="{762EF590-160F-420F-9AE1-49883AA928AE}" presName="hierChild2" presStyleCnt="0"/>
      <dgm:spPr/>
    </dgm:pt>
    <dgm:pt modelId="{C6498F3A-E144-4EA7-8583-38A843F262DC}" type="pres">
      <dgm:prSet presAssocID="{6F7D707B-F7A3-4832-BE20-1352AD79E0E2}" presName="Name25" presStyleLbl="parChTrans1D2" presStyleIdx="0" presStyleCnt="2"/>
      <dgm:spPr/>
      <dgm:t>
        <a:bodyPr/>
        <a:lstStyle/>
        <a:p>
          <a:endParaRPr lang="nb-NO"/>
        </a:p>
      </dgm:t>
    </dgm:pt>
    <dgm:pt modelId="{245EF6D8-6C8D-4151-9528-206752E7FFA9}" type="pres">
      <dgm:prSet presAssocID="{6F7D707B-F7A3-4832-BE20-1352AD79E0E2}" presName="connTx" presStyleLbl="parChTrans1D2" presStyleIdx="0" presStyleCnt="2"/>
      <dgm:spPr/>
      <dgm:t>
        <a:bodyPr/>
        <a:lstStyle/>
        <a:p>
          <a:endParaRPr lang="nb-NO"/>
        </a:p>
      </dgm:t>
    </dgm:pt>
    <dgm:pt modelId="{F0A850C1-0246-4FCD-BFCB-4C4618571A15}" type="pres">
      <dgm:prSet presAssocID="{C6C784A2-4A7D-43EF-8E3F-984CEF035ECE}" presName="Name30" presStyleCnt="0"/>
      <dgm:spPr/>
    </dgm:pt>
    <dgm:pt modelId="{9C373FCA-D79C-44D5-9300-9CFC761AA81C}" type="pres">
      <dgm:prSet presAssocID="{C6C784A2-4A7D-43EF-8E3F-984CEF035ECE}" presName="level2Shape" presStyleLbl="node2" presStyleIdx="0" presStyleCnt="2" custScaleY="176380" custLinFactNeighborX="-22638" custLinFactNeighborY="-5906"/>
      <dgm:spPr/>
      <dgm:t>
        <a:bodyPr/>
        <a:lstStyle/>
        <a:p>
          <a:endParaRPr lang="nb-NO"/>
        </a:p>
      </dgm:t>
    </dgm:pt>
    <dgm:pt modelId="{37311B4B-76CC-404A-A442-770C06213E2F}" type="pres">
      <dgm:prSet presAssocID="{C6C784A2-4A7D-43EF-8E3F-984CEF035ECE}" presName="hierChild3" presStyleCnt="0"/>
      <dgm:spPr/>
    </dgm:pt>
    <dgm:pt modelId="{2EFC976A-E189-42FD-A925-E7416E513E1E}" type="pres">
      <dgm:prSet presAssocID="{10C88997-CC8C-4B8C-9053-34A7042019AC}" presName="Name25" presStyleLbl="parChTrans1D3" presStyleIdx="0" presStyleCnt="3"/>
      <dgm:spPr/>
      <dgm:t>
        <a:bodyPr/>
        <a:lstStyle/>
        <a:p>
          <a:endParaRPr lang="nb-NO"/>
        </a:p>
      </dgm:t>
    </dgm:pt>
    <dgm:pt modelId="{A6B2D96E-6EE8-4A4F-B714-6C0D69619469}" type="pres">
      <dgm:prSet presAssocID="{10C88997-CC8C-4B8C-9053-34A7042019AC}" presName="connTx" presStyleLbl="parChTrans1D3" presStyleIdx="0" presStyleCnt="3"/>
      <dgm:spPr/>
      <dgm:t>
        <a:bodyPr/>
        <a:lstStyle/>
        <a:p>
          <a:endParaRPr lang="nb-NO"/>
        </a:p>
      </dgm:t>
    </dgm:pt>
    <dgm:pt modelId="{7A40B749-5034-4B2D-B247-6FFA187F86CD}" type="pres">
      <dgm:prSet presAssocID="{80A6B342-B8A7-47A3-B530-17718B3AAE25}" presName="Name30" presStyleCnt="0"/>
      <dgm:spPr/>
    </dgm:pt>
    <dgm:pt modelId="{1840529B-EB1A-49D8-A620-57054FC55365}" type="pres">
      <dgm:prSet presAssocID="{80A6B342-B8A7-47A3-B530-17718B3AAE25}" presName="level2Shape" presStyleLbl="node3" presStyleIdx="0" presStyleCnt="3" custLinFactNeighborX="-18701" custLinFactNeighborY="5201"/>
      <dgm:spPr/>
      <dgm:t>
        <a:bodyPr/>
        <a:lstStyle/>
        <a:p>
          <a:endParaRPr lang="nb-NO"/>
        </a:p>
      </dgm:t>
    </dgm:pt>
    <dgm:pt modelId="{9955EA75-6B6E-4402-A2B6-DB8E7AF9E398}" type="pres">
      <dgm:prSet presAssocID="{80A6B342-B8A7-47A3-B530-17718B3AAE25}" presName="hierChild3" presStyleCnt="0"/>
      <dgm:spPr/>
    </dgm:pt>
    <dgm:pt modelId="{EA2AC298-4FCA-4294-BC88-19F8213F95AA}" type="pres">
      <dgm:prSet presAssocID="{E0F1BADC-827A-49B0-9F5F-9634A9BCF4A5}" presName="Name25" presStyleLbl="parChTrans1D3" presStyleIdx="1" presStyleCnt="3"/>
      <dgm:spPr/>
      <dgm:t>
        <a:bodyPr/>
        <a:lstStyle/>
        <a:p>
          <a:endParaRPr lang="nb-NO"/>
        </a:p>
      </dgm:t>
    </dgm:pt>
    <dgm:pt modelId="{F214CB70-2EEE-4C6F-AB79-F4DD209A1D94}" type="pres">
      <dgm:prSet presAssocID="{E0F1BADC-827A-49B0-9F5F-9634A9BCF4A5}" presName="connTx" presStyleLbl="parChTrans1D3" presStyleIdx="1" presStyleCnt="3"/>
      <dgm:spPr/>
      <dgm:t>
        <a:bodyPr/>
        <a:lstStyle/>
        <a:p>
          <a:endParaRPr lang="nb-NO"/>
        </a:p>
      </dgm:t>
    </dgm:pt>
    <dgm:pt modelId="{8384B978-D8AC-47D2-814D-3902F14E9744}" type="pres">
      <dgm:prSet presAssocID="{54A4C670-8DD9-4337-9AE8-2689807FFE5A}" presName="Name30" presStyleCnt="0"/>
      <dgm:spPr/>
    </dgm:pt>
    <dgm:pt modelId="{F8709A01-3DFB-4883-98F3-4DC7FD64DE07}" type="pres">
      <dgm:prSet presAssocID="{54A4C670-8DD9-4337-9AE8-2689807FFE5A}" presName="level2Shape" presStyleLbl="node3" presStyleIdx="1" presStyleCnt="3" custLinFactNeighborX="-20669" custLinFactNeighborY="-7874"/>
      <dgm:spPr/>
      <dgm:t>
        <a:bodyPr/>
        <a:lstStyle/>
        <a:p>
          <a:endParaRPr lang="nb-NO"/>
        </a:p>
      </dgm:t>
    </dgm:pt>
    <dgm:pt modelId="{D9FAF300-E622-49C2-8A0F-978B44DADBCB}" type="pres">
      <dgm:prSet presAssocID="{54A4C670-8DD9-4337-9AE8-2689807FFE5A}" presName="hierChild3" presStyleCnt="0"/>
      <dgm:spPr/>
    </dgm:pt>
    <dgm:pt modelId="{523A4C08-7080-4828-80F7-6A0F00AE1C7F}" type="pres">
      <dgm:prSet presAssocID="{A65B4E19-7F7C-4C62-B35B-D4DAE3E68C9D}" presName="Name25" presStyleLbl="parChTrans1D2" presStyleIdx="1" presStyleCnt="2"/>
      <dgm:spPr/>
      <dgm:t>
        <a:bodyPr/>
        <a:lstStyle/>
        <a:p>
          <a:endParaRPr lang="nb-NO"/>
        </a:p>
      </dgm:t>
    </dgm:pt>
    <dgm:pt modelId="{F866B54B-7D2B-4255-B4FD-A24EDA994BEC}" type="pres">
      <dgm:prSet presAssocID="{A65B4E19-7F7C-4C62-B35B-D4DAE3E68C9D}" presName="connTx" presStyleLbl="parChTrans1D2" presStyleIdx="1" presStyleCnt="2"/>
      <dgm:spPr/>
      <dgm:t>
        <a:bodyPr/>
        <a:lstStyle/>
        <a:p>
          <a:endParaRPr lang="nb-NO"/>
        </a:p>
      </dgm:t>
    </dgm:pt>
    <dgm:pt modelId="{9011B6F8-3A9C-4DCE-AFDD-D151276C3E0F}" type="pres">
      <dgm:prSet presAssocID="{EF64ACB9-1F7A-4916-B4F0-BE435D3742E4}" presName="Name30" presStyleCnt="0"/>
      <dgm:spPr/>
    </dgm:pt>
    <dgm:pt modelId="{E85055A5-EC36-4AB2-8685-8F3F08926F97}" type="pres">
      <dgm:prSet presAssocID="{EF64ACB9-1F7A-4916-B4F0-BE435D3742E4}" presName="level2Shape" presStyleLbl="node2" presStyleIdx="1" presStyleCnt="2" custLinFactNeighborX="-19685"/>
      <dgm:spPr/>
      <dgm:t>
        <a:bodyPr/>
        <a:lstStyle/>
        <a:p>
          <a:endParaRPr lang="nb-NO"/>
        </a:p>
      </dgm:t>
    </dgm:pt>
    <dgm:pt modelId="{479816AD-BEBF-407F-A0C2-E6006B095842}" type="pres">
      <dgm:prSet presAssocID="{EF64ACB9-1F7A-4916-B4F0-BE435D3742E4}" presName="hierChild3" presStyleCnt="0"/>
      <dgm:spPr/>
    </dgm:pt>
    <dgm:pt modelId="{BEF23B3C-1E16-4B1B-900D-FF2089EAAEC7}" type="pres">
      <dgm:prSet presAssocID="{06F2231A-1518-4A9A-9B4A-E504F801A1ED}" presName="Name25" presStyleLbl="parChTrans1D3" presStyleIdx="2" presStyleCnt="3"/>
      <dgm:spPr/>
      <dgm:t>
        <a:bodyPr/>
        <a:lstStyle/>
        <a:p>
          <a:endParaRPr lang="nb-NO"/>
        </a:p>
      </dgm:t>
    </dgm:pt>
    <dgm:pt modelId="{AB40FE3E-1BE0-454B-B12E-81986E5CA37F}" type="pres">
      <dgm:prSet presAssocID="{06F2231A-1518-4A9A-9B4A-E504F801A1ED}" presName="connTx" presStyleLbl="parChTrans1D3" presStyleIdx="2" presStyleCnt="3"/>
      <dgm:spPr/>
      <dgm:t>
        <a:bodyPr/>
        <a:lstStyle/>
        <a:p>
          <a:endParaRPr lang="nb-NO"/>
        </a:p>
      </dgm:t>
    </dgm:pt>
    <dgm:pt modelId="{FEF2F18B-39BE-4FF2-B131-24FB44268A01}" type="pres">
      <dgm:prSet presAssocID="{F3029CBD-AE6C-438F-896C-F893850C6117}" presName="Name30" presStyleCnt="0"/>
      <dgm:spPr/>
    </dgm:pt>
    <dgm:pt modelId="{93093E33-AEF4-4E37-907D-24E4BFAA5E21}" type="pres">
      <dgm:prSet presAssocID="{F3029CBD-AE6C-438F-896C-F893850C6117}" presName="level2Shape" presStyleLbl="node3" presStyleIdx="2" presStyleCnt="3" custLinFactNeighborX="-21653" custLinFactNeighborY="21653"/>
      <dgm:spPr/>
      <dgm:t>
        <a:bodyPr/>
        <a:lstStyle/>
        <a:p>
          <a:endParaRPr lang="nb-NO"/>
        </a:p>
      </dgm:t>
    </dgm:pt>
    <dgm:pt modelId="{00A5A783-A31D-45A2-A4A5-FDFA05D194BD}" type="pres">
      <dgm:prSet presAssocID="{F3029CBD-AE6C-438F-896C-F893850C6117}" presName="hierChild3" presStyleCnt="0"/>
      <dgm:spPr/>
    </dgm:pt>
    <dgm:pt modelId="{9262314E-B74D-488A-BDEB-7310280F9A07}" type="pres">
      <dgm:prSet presAssocID="{9083C0CA-3FB6-47D7-9DC2-E2C6C524134E}" presName="bgShapesFlow" presStyleCnt="0"/>
      <dgm:spPr/>
    </dgm:pt>
    <dgm:pt modelId="{88076520-6ECE-4B53-84C2-A2A868D49146}" type="pres">
      <dgm:prSet presAssocID="{36A70192-87D1-4539-BBC7-D48A2D0C89D9}" presName="rectComp" presStyleCnt="0"/>
      <dgm:spPr/>
    </dgm:pt>
    <dgm:pt modelId="{D1EC4036-C7E1-44E0-AEA0-98FFB3FE7BB1}" type="pres">
      <dgm:prSet presAssocID="{36A70192-87D1-4539-BBC7-D48A2D0C89D9}" presName="bgRect" presStyleLbl="bgShp" presStyleIdx="0" presStyleCnt="3"/>
      <dgm:spPr/>
      <dgm:t>
        <a:bodyPr/>
        <a:lstStyle/>
        <a:p>
          <a:endParaRPr lang="nb-NO"/>
        </a:p>
      </dgm:t>
    </dgm:pt>
    <dgm:pt modelId="{42A4B708-E792-4DCB-AF11-225DE7B0D727}" type="pres">
      <dgm:prSet presAssocID="{36A70192-87D1-4539-BBC7-D48A2D0C89D9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2D75C93-783D-41A6-AB62-D0815CA2316A}" type="pres">
      <dgm:prSet presAssocID="{36A70192-87D1-4539-BBC7-D48A2D0C89D9}" presName="spComp" presStyleCnt="0"/>
      <dgm:spPr/>
    </dgm:pt>
    <dgm:pt modelId="{B0616FCE-F5EF-4774-B31D-C177C83C0C58}" type="pres">
      <dgm:prSet presAssocID="{36A70192-87D1-4539-BBC7-D48A2D0C89D9}" presName="hSp" presStyleCnt="0"/>
      <dgm:spPr/>
    </dgm:pt>
    <dgm:pt modelId="{74AA7978-E32D-41A4-A96F-6D6B16578A88}" type="pres">
      <dgm:prSet presAssocID="{59CC6260-C883-4665-9988-77AE7AE67A81}" presName="rectComp" presStyleCnt="0"/>
      <dgm:spPr/>
    </dgm:pt>
    <dgm:pt modelId="{0D6F98C8-D1DE-4457-98E2-40DDFABA23EA}" type="pres">
      <dgm:prSet presAssocID="{59CC6260-C883-4665-9988-77AE7AE67A81}" presName="bgRect" presStyleLbl="bgShp" presStyleIdx="1" presStyleCnt="3"/>
      <dgm:spPr/>
      <dgm:t>
        <a:bodyPr/>
        <a:lstStyle/>
        <a:p>
          <a:endParaRPr lang="nb-NO"/>
        </a:p>
      </dgm:t>
    </dgm:pt>
    <dgm:pt modelId="{CF33B9AF-8160-44F3-B1AB-1EE5DD83CE84}" type="pres">
      <dgm:prSet presAssocID="{59CC6260-C883-4665-9988-77AE7AE67A81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F43C73E-33FC-4930-8E01-3E9591634810}" type="pres">
      <dgm:prSet presAssocID="{59CC6260-C883-4665-9988-77AE7AE67A81}" presName="spComp" presStyleCnt="0"/>
      <dgm:spPr/>
    </dgm:pt>
    <dgm:pt modelId="{E622DE46-3EAD-4FDB-91C2-CF945C261B12}" type="pres">
      <dgm:prSet presAssocID="{59CC6260-C883-4665-9988-77AE7AE67A81}" presName="hSp" presStyleCnt="0"/>
      <dgm:spPr/>
    </dgm:pt>
    <dgm:pt modelId="{14E30126-8FD5-4CF3-8B05-70F7A1227F68}" type="pres">
      <dgm:prSet presAssocID="{AD75AA9B-61F9-4782-9667-2016054E002F}" presName="rectComp" presStyleCnt="0"/>
      <dgm:spPr/>
    </dgm:pt>
    <dgm:pt modelId="{21241AFA-FCEE-4A6D-A14B-247E170E9E6D}" type="pres">
      <dgm:prSet presAssocID="{AD75AA9B-61F9-4782-9667-2016054E002F}" presName="bgRect" presStyleLbl="bgShp" presStyleIdx="2" presStyleCnt="3"/>
      <dgm:spPr/>
      <dgm:t>
        <a:bodyPr/>
        <a:lstStyle/>
        <a:p>
          <a:endParaRPr lang="nb-NO"/>
        </a:p>
      </dgm:t>
    </dgm:pt>
    <dgm:pt modelId="{CEF2B53F-F02F-4C5F-8AE7-07E4DFB6D25C}" type="pres">
      <dgm:prSet presAssocID="{AD75AA9B-61F9-4782-9667-2016054E002F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</dgm:ptLst>
  <dgm:cxnLst>
    <dgm:cxn modelId="{65E566E5-75EF-4D84-B6F2-9B9C8BB7BFB3}" srcId="{9083C0CA-3FB6-47D7-9DC2-E2C6C524134E}" destId="{36A70192-87D1-4539-BBC7-D48A2D0C89D9}" srcOrd="1" destOrd="0" parTransId="{202BE64C-E5A6-4383-BFB2-9BA6F4438CCC}" sibTransId="{020F2221-9E53-437F-A3B4-F5C2E82D79C8}"/>
    <dgm:cxn modelId="{9AF0C97A-22C4-4168-95DD-27FB69F0665B}" type="presOf" srcId="{EF64ACB9-1F7A-4916-B4F0-BE435D3742E4}" destId="{E85055A5-EC36-4AB2-8685-8F3F08926F97}" srcOrd="0" destOrd="0" presId="urn:microsoft.com/office/officeart/2005/8/layout/hierarchy5"/>
    <dgm:cxn modelId="{F9802FD8-20FF-433D-87C2-8862BDA05BCF}" type="presOf" srcId="{C6C784A2-4A7D-43EF-8E3F-984CEF035ECE}" destId="{9C373FCA-D79C-44D5-9300-9CFC761AA81C}" srcOrd="0" destOrd="0" presId="urn:microsoft.com/office/officeart/2005/8/layout/hierarchy5"/>
    <dgm:cxn modelId="{13B1AD8E-E9A9-49AF-B780-10D1DA7298B2}" type="presOf" srcId="{54A4C670-8DD9-4337-9AE8-2689807FFE5A}" destId="{F8709A01-3DFB-4883-98F3-4DC7FD64DE07}" srcOrd="0" destOrd="0" presId="urn:microsoft.com/office/officeart/2005/8/layout/hierarchy5"/>
    <dgm:cxn modelId="{30F8497B-C306-4EA2-AE27-121A58048CAD}" type="presOf" srcId="{E0F1BADC-827A-49B0-9F5F-9634A9BCF4A5}" destId="{EA2AC298-4FCA-4294-BC88-19F8213F95AA}" srcOrd="0" destOrd="0" presId="urn:microsoft.com/office/officeart/2005/8/layout/hierarchy5"/>
    <dgm:cxn modelId="{F2B1FCB4-4716-46AC-B966-A89E82170800}" srcId="{9083C0CA-3FB6-47D7-9DC2-E2C6C524134E}" destId="{AD75AA9B-61F9-4782-9667-2016054E002F}" srcOrd="3" destOrd="0" parTransId="{DE4AF088-E188-4841-8D66-9F8D3127C0D0}" sibTransId="{D8ECF68D-41C1-4481-BA71-51DF3CBA8583}"/>
    <dgm:cxn modelId="{9B5D0519-382A-4054-9D86-F2C409F2FD45}" type="presOf" srcId="{10C88997-CC8C-4B8C-9053-34A7042019AC}" destId="{A6B2D96E-6EE8-4A4F-B714-6C0D69619469}" srcOrd="1" destOrd="0" presId="urn:microsoft.com/office/officeart/2005/8/layout/hierarchy5"/>
    <dgm:cxn modelId="{035E3100-9077-4EBC-8B27-69B25EE81E02}" type="presOf" srcId="{762EF590-160F-420F-9AE1-49883AA928AE}" destId="{F91660F9-9DA9-4BCC-BFF0-439EB06AE054}" srcOrd="0" destOrd="0" presId="urn:microsoft.com/office/officeart/2005/8/layout/hierarchy5"/>
    <dgm:cxn modelId="{0AF0AA52-269F-4B8F-B242-DD43502DC574}" srcId="{C6C784A2-4A7D-43EF-8E3F-984CEF035ECE}" destId="{80A6B342-B8A7-47A3-B530-17718B3AAE25}" srcOrd="0" destOrd="0" parTransId="{10C88997-CC8C-4B8C-9053-34A7042019AC}" sibTransId="{B7CB029D-30ED-4C61-B4C5-6E860BFEA3A2}"/>
    <dgm:cxn modelId="{735C78E5-52EC-4DA2-92A0-E71772843E60}" type="presOf" srcId="{A65B4E19-7F7C-4C62-B35B-D4DAE3E68C9D}" destId="{523A4C08-7080-4828-80F7-6A0F00AE1C7F}" srcOrd="0" destOrd="0" presId="urn:microsoft.com/office/officeart/2005/8/layout/hierarchy5"/>
    <dgm:cxn modelId="{118B3EFF-5AC3-43FC-BDDE-88A25025E51C}" srcId="{762EF590-160F-420F-9AE1-49883AA928AE}" destId="{EF64ACB9-1F7A-4916-B4F0-BE435D3742E4}" srcOrd="1" destOrd="0" parTransId="{A65B4E19-7F7C-4C62-B35B-D4DAE3E68C9D}" sibTransId="{1B521E7D-1B57-4291-BA29-03511A0F757D}"/>
    <dgm:cxn modelId="{F4D63BC3-513A-4C28-BDA1-96CEA16B4165}" srcId="{762EF590-160F-420F-9AE1-49883AA928AE}" destId="{C6C784A2-4A7D-43EF-8E3F-984CEF035ECE}" srcOrd="0" destOrd="0" parTransId="{6F7D707B-F7A3-4832-BE20-1352AD79E0E2}" sibTransId="{8D83A46D-5D2D-4FF3-A4B6-B34629373978}"/>
    <dgm:cxn modelId="{B3EFCF8D-8F7D-415F-A00F-9FD011AAD4ED}" type="presOf" srcId="{6F7D707B-F7A3-4832-BE20-1352AD79E0E2}" destId="{245EF6D8-6C8D-4151-9528-206752E7FFA9}" srcOrd="1" destOrd="0" presId="urn:microsoft.com/office/officeart/2005/8/layout/hierarchy5"/>
    <dgm:cxn modelId="{3D8A80D2-7002-4B98-90E0-FC30C153AD7B}" type="presOf" srcId="{06F2231A-1518-4A9A-9B4A-E504F801A1ED}" destId="{BEF23B3C-1E16-4B1B-900D-FF2089EAAEC7}" srcOrd="0" destOrd="0" presId="urn:microsoft.com/office/officeart/2005/8/layout/hierarchy5"/>
    <dgm:cxn modelId="{50E74FEC-F86F-402F-BADF-202D39D696A1}" type="presOf" srcId="{36A70192-87D1-4539-BBC7-D48A2D0C89D9}" destId="{D1EC4036-C7E1-44E0-AEA0-98FFB3FE7BB1}" srcOrd="0" destOrd="0" presId="urn:microsoft.com/office/officeart/2005/8/layout/hierarchy5"/>
    <dgm:cxn modelId="{3FF641A1-ECF5-483C-83AD-F9D968BE1C00}" type="presOf" srcId="{10C88997-CC8C-4B8C-9053-34A7042019AC}" destId="{2EFC976A-E189-42FD-A925-E7416E513E1E}" srcOrd="0" destOrd="0" presId="urn:microsoft.com/office/officeart/2005/8/layout/hierarchy5"/>
    <dgm:cxn modelId="{23FA01EF-83AB-400D-BE02-4BEBE917F310}" type="presOf" srcId="{59CC6260-C883-4665-9988-77AE7AE67A81}" destId="{0D6F98C8-D1DE-4457-98E2-40DDFABA23EA}" srcOrd="0" destOrd="0" presId="urn:microsoft.com/office/officeart/2005/8/layout/hierarchy5"/>
    <dgm:cxn modelId="{A66EE9FA-AA4D-4D47-BB77-2EACB11BC450}" srcId="{9083C0CA-3FB6-47D7-9DC2-E2C6C524134E}" destId="{762EF590-160F-420F-9AE1-49883AA928AE}" srcOrd="0" destOrd="0" parTransId="{01162254-2848-468D-9D3F-B3E1D82D3659}" sibTransId="{BAF6B390-E4A5-4905-9963-E10E9D044758}"/>
    <dgm:cxn modelId="{3230522F-4A8C-4CFE-8846-90BA5755DB1A}" srcId="{C6C784A2-4A7D-43EF-8E3F-984CEF035ECE}" destId="{54A4C670-8DD9-4337-9AE8-2689807FFE5A}" srcOrd="1" destOrd="0" parTransId="{E0F1BADC-827A-49B0-9F5F-9634A9BCF4A5}" sibTransId="{1D935F62-AADA-4749-806F-C2F9C0ACA8E1}"/>
    <dgm:cxn modelId="{376685E6-CA76-4C27-86F7-CBF3E394CEF4}" srcId="{EF64ACB9-1F7A-4916-B4F0-BE435D3742E4}" destId="{F3029CBD-AE6C-438F-896C-F893850C6117}" srcOrd="0" destOrd="0" parTransId="{06F2231A-1518-4A9A-9B4A-E504F801A1ED}" sibTransId="{0B2BA607-A389-483A-BE5F-12697E44AF29}"/>
    <dgm:cxn modelId="{381C9F38-D0AC-47C7-8D6D-8724865F7DA2}" type="presOf" srcId="{80A6B342-B8A7-47A3-B530-17718B3AAE25}" destId="{1840529B-EB1A-49D8-A620-57054FC55365}" srcOrd="0" destOrd="0" presId="urn:microsoft.com/office/officeart/2005/8/layout/hierarchy5"/>
    <dgm:cxn modelId="{14DCB025-91B7-45C2-924D-6398794E29F9}" type="presOf" srcId="{9083C0CA-3FB6-47D7-9DC2-E2C6C524134E}" destId="{EB42CA00-9262-44E8-AADD-B06E5EF0DBCA}" srcOrd="0" destOrd="0" presId="urn:microsoft.com/office/officeart/2005/8/layout/hierarchy5"/>
    <dgm:cxn modelId="{092B1F5A-985D-4AA7-9BC6-59215BAC8837}" srcId="{9083C0CA-3FB6-47D7-9DC2-E2C6C524134E}" destId="{59CC6260-C883-4665-9988-77AE7AE67A81}" srcOrd="2" destOrd="0" parTransId="{C0095768-6CF2-46EC-AE9D-0EF09AA26C46}" sibTransId="{3967ACEC-70FB-4BCE-8C80-58BCD7CE55D0}"/>
    <dgm:cxn modelId="{36293E7D-E3EC-43F6-9CAC-D3BEC4DEF779}" type="presOf" srcId="{6F7D707B-F7A3-4832-BE20-1352AD79E0E2}" destId="{C6498F3A-E144-4EA7-8583-38A843F262DC}" srcOrd="0" destOrd="0" presId="urn:microsoft.com/office/officeart/2005/8/layout/hierarchy5"/>
    <dgm:cxn modelId="{432ABB2E-8E3C-452E-967C-3B9C07CEE6B8}" type="presOf" srcId="{36A70192-87D1-4539-BBC7-D48A2D0C89D9}" destId="{42A4B708-E792-4DCB-AF11-225DE7B0D727}" srcOrd="1" destOrd="0" presId="urn:microsoft.com/office/officeart/2005/8/layout/hierarchy5"/>
    <dgm:cxn modelId="{057B65F8-E65D-41C8-8116-4DEE41639320}" type="presOf" srcId="{A65B4E19-7F7C-4C62-B35B-D4DAE3E68C9D}" destId="{F866B54B-7D2B-4255-B4FD-A24EDA994BEC}" srcOrd="1" destOrd="0" presId="urn:microsoft.com/office/officeart/2005/8/layout/hierarchy5"/>
    <dgm:cxn modelId="{0BA6B1E8-2564-4520-AD87-68654DCC3977}" type="presOf" srcId="{E0F1BADC-827A-49B0-9F5F-9634A9BCF4A5}" destId="{F214CB70-2EEE-4C6F-AB79-F4DD209A1D94}" srcOrd="1" destOrd="0" presId="urn:microsoft.com/office/officeart/2005/8/layout/hierarchy5"/>
    <dgm:cxn modelId="{EA5452B1-BE39-41D1-BA36-AC7D20E5C586}" type="presOf" srcId="{59CC6260-C883-4665-9988-77AE7AE67A81}" destId="{CF33B9AF-8160-44F3-B1AB-1EE5DD83CE84}" srcOrd="1" destOrd="0" presId="urn:microsoft.com/office/officeart/2005/8/layout/hierarchy5"/>
    <dgm:cxn modelId="{209BAAB8-05C7-4AA8-ADD9-35CF8FD627D0}" type="presOf" srcId="{06F2231A-1518-4A9A-9B4A-E504F801A1ED}" destId="{AB40FE3E-1BE0-454B-B12E-81986E5CA37F}" srcOrd="1" destOrd="0" presId="urn:microsoft.com/office/officeart/2005/8/layout/hierarchy5"/>
    <dgm:cxn modelId="{CB2A1194-B921-4F34-AF2D-A44A2AF01B98}" type="presOf" srcId="{AD75AA9B-61F9-4782-9667-2016054E002F}" destId="{CEF2B53F-F02F-4C5F-8AE7-07E4DFB6D25C}" srcOrd="1" destOrd="0" presId="urn:microsoft.com/office/officeart/2005/8/layout/hierarchy5"/>
    <dgm:cxn modelId="{6EC00A36-47AB-4DB5-99EF-70B21683F202}" type="presOf" srcId="{F3029CBD-AE6C-438F-896C-F893850C6117}" destId="{93093E33-AEF4-4E37-907D-24E4BFAA5E21}" srcOrd="0" destOrd="0" presId="urn:microsoft.com/office/officeart/2005/8/layout/hierarchy5"/>
    <dgm:cxn modelId="{D545861D-0589-46C6-83C7-BAACAB6A0DE8}" type="presOf" srcId="{AD75AA9B-61F9-4782-9667-2016054E002F}" destId="{21241AFA-FCEE-4A6D-A14B-247E170E9E6D}" srcOrd="0" destOrd="0" presId="urn:microsoft.com/office/officeart/2005/8/layout/hierarchy5"/>
    <dgm:cxn modelId="{69B60999-3DFA-4C76-9D29-0F276B37CBE0}" type="presParOf" srcId="{EB42CA00-9262-44E8-AADD-B06E5EF0DBCA}" destId="{7F244006-027F-47D1-985E-F9CC3A375B7B}" srcOrd="0" destOrd="0" presId="urn:microsoft.com/office/officeart/2005/8/layout/hierarchy5"/>
    <dgm:cxn modelId="{7A086D87-80A6-402C-B885-C158FB071EE4}" type="presParOf" srcId="{7F244006-027F-47D1-985E-F9CC3A375B7B}" destId="{BE7FA140-75F1-468B-8E1C-C2EF74552FF4}" srcOrd="0" destOrd="0" presId="urn:microsoft.com/office/officeart/2005/8/layout/hierarchy5"/>
    <dgm:cxn modelId="{745A4C33-5462-4A0B-A0AE-EBACD5CBDECA}" type="presParOf" srcId="{7F244006-027F-47D1-985E-F9CC3A375B7B}" destId="{CEE6A8FF-2F9B-4400-A062-A4077AE000FA}" srcOrd="1" destOrd="0" presId="urn:microsoft.com/office/officeart/2005/8/layout/hierarchy5"/>
    <dgm:cxn modelId="{2765D4D4-7536-4A9E-97FF-896ECAE6CEEB}" type="presParOf" srcId="{CEE6A8FF-2F9B-4400-A062-A4077AE000FA}" destId="{80AECA72-C954-43BD-901A-CD5E00F536AD}" srcOrd="0" destOrd="0" presId="urn:microsoft.com/office/officeart/2005/8/layout/hierarchy5"/>
    <dgm:cxn modelId="{8F5818C3-BCA1-424F-B882-B37AFC8F3CDE}" type="presParOf" srcId="{80AECA72-C954-43BD-901A-CD5E00F536AD}" destId="{F91660F9-9DA9-4BCC-BFF0-439EB06AE054}" srcOrd="0" destOrd="0" presId="urn:microsoft.com/office/officeart/2005/8/layout/hierarchy5"/>
    <dgm:cxn modelId="{F2CC3F21-FE20-4447-A349-FEA912FC5BF9}" type="presParOf" srcId="{80AECA72-C954-43BD-901A-CD5E00F536AD}" destId="{2E5DF35B-15FC-48E8-8946-1C41EDDA5DD4}" srcOrd="1" destOrd="0" presId="urn:microsoft.com/office/officeart/2005/8/layout/hierarchy5"/>
    <dgm:cxn modelId="{742FDFFC-C473-48EF-9877-0E2E5BB9FA28}" type="presParOf" srcId="{2E5DF35B-15FC-48E8-8946-1C41EDDA5DD4}" destId="{C6498F3A-E144-4EA7-8583-38A843F262DC}" srcOrd="0" destOrd="0" presId="urn:microsoft.com/office/officeart/2005/8/layout/hierarchy5"/>
    <dgm:cxn modelId="{6B174AED-D3EF-47D2-BA76-D4C632434283}" type="presParOf" srcId="{C6498F3A-E144-4EA7-8583-38A843F262DC}" destId="{245EF6D8-6C8D-4151-9528-206752E7FFA9}" srcOrd="0" destOrd="0" presId="urn:microsoft.com/office/officeart/2005/8/layout/hierarchy5"/>
    <dgm:cxn modelId="{31696796-FC51-4264-9A37-348505705837}" type="presParOf" srcId="{2E5DF35B-15FC-48E8-8946-1C41EDDA5DD4}" destId="{F0A850C1-0246-4FCD-BFCB-4C4618571A15}" srcOrd="1" destOrd="0" presId="urn:microsoft.com/office/officeart/2005/8/layout/hierarchy5"/>
    <dgm:cxn modelId="{E9A5BFB0-D45E-4A56-BB10-FC5C2580F109}" type="presParOf" srcId="{F0A850C1-0246-4FCD-BFCB-4C4618571A15}" destId="{9C373FCA-D79C-44D5-9300-9CFC761AA81C}" srcOrd="0" destOrd="0" presId="urn:microsoft.com/office/officeart/2005/8/layout/hierarchy5"/>
    <dgm:cxn modelId="{BF6F266B-D0CE-41D5-8F6A-D597ABD42D22}" type="presParOf" srcId="{F0A850C1-0246-4FCD-BFCB-4C4618571A15}" destId="{37311B4B-76CC-404A-A442-770C06213E2F}" srcOrd="1" destOrd="0" presId="urn:microsoft.com/office/officeart/2005/8/layout/hierarchy5"/>
    <dgm:cxn modelId="{DA01BA55-EC15-4A57-99E7-4F691EE0690A}" type="presParOf" srcId="{37311B4B-76CC-404A-A442-770C06213E2F}" destId="{2EFC976A-E189-42FD-A925-E7416E513E1E}" srcOrd="0" destOrd="0" presId="urn:microsoft.com/office/officeart/2005/8/layout/hierarchy5"/>
    <dgm:cxn modelId="{D4DA2AD0-7310-437E-8298-F28848C30CFE}" type="presParOf" srcId="{2EFC976A-E189-42FD-A925-E7416E513E1E}" destId="{A6B2D96E-6EE8-4A4F-B714-6C0D69619469}" srcOrd="0" destOrd="0" presId="urn:microsoft.com/office/officeart/2005/8/layout/hierarchy5"/>
    <dgm:cxn modelId="{7A6D20C0-0363-4BA2-B399-DF04CDF5D46D}" type="presParOf" srcId="{37311B4B-76CC-404A-A442-770C06213E2F}" destId="{7A40B749-5034-4B2D-B247-6FFA187F86CD}" srcOrd="1" destOrd="0" presId="urn:microsoft.com/office/officeart/2005/8/layout/hierarchy5"/>
    <dgm:cxn modelId="{E6DF60BB-EDE9-4D45-8ED0-B4D1D042A8B6}" type="presParOf" srcId="{7A40B749-5034-4B2D-B247-6FFA187F86CD}" destId="{1840529B-EB1A-49D8-A620-57054FC55365}" srcOrd="0" destOrd="0" presId="urn:microsoft.com/office/officeart/2005/8/layout/hierarchy5"/>
    <dgm:cxn modelId="{E4F637F3-193D-4208-95D9-87EE62F23541}" type="presParOf" srcId="{7A40B749-5034-4B2D-B247-6FFA187F86CD}" destId="{9955EA75-6B6E-4402-A2B6-DB8E7AF9E398}" srcOrd="1" destOrd="0" presId="urn:microsoft.com/office/officeart/2005/8/layout/hierarchy5"/>
    <dgm:cxn modelId="{C61F7C3A-6B7C-4A44-BB21-B07610C057EC}" type="presParOf" srcId="{37311B4B-76CC-404A-A442-770C06213E2F}" destId="{EA2AC298-4FCA-4294-BC88-19F8213F95AA}" srcOrd="2" destOrd="0" presId="urn:microsoft.com/office/officeart/2005/8/layout/hierarchy5"/>
    <dgm:cxn modelId="{EB2AE632-470F-48DA-858D-4AD52CD9F399}" type="presParOf" srcId="{EA2AC298-4FCA-4294-BC88-19F8213F95AA}" destId="{F214CB70-2EEE-4C6F-AB79-F4DD209A1D94}" srcOrd="0" destOrd="0" presId="urn:microsoft.com/office/officeart/2005/8/layout/hierarchy5"/>
    <dgm:cxn modelId="{92888D54-EF94-4CC3-A8A3-6EB2A68BE9CA}" type="presParOf" srcId="{37311B4B-76CC-404A-A442-770C06213E2F}" destId="{8384B978-D8AC-47D2-814D-3902F14E9744}" srcOrd="3" destOrd="0" presId="urn:microsoft.com/office/officeart/2005/8/layout/hierarchy5"/>
    <dgm:cxn modelId="{AAF8C1BA-B1F6-4C09-B5E3-58E0B71F70DE}" type="presParOf" srcId="{8384B978-D8AC-47D2-814D-3902F14E9744}" destId="{F8709A01-3DFB-4883-98F3-4DC7FD64DE07}" srcOrd="0" destOrd="0" presId="urn:microsoft.com/office/officeart/2005/8/layout/hierarchy5"/>
    <dgm:cxn modelId="{85E10BAD-6256-40AB-80DD-1531348D191A}" type="presParOf" srcId="{8384B978-D8AC-47D2-814D-3902F14E9744}" destId="{D9FAF300-E622-49C2-8A0F-978B44DADBCB}" srcOrd="1" destOrd="0" presId="urn:microsoft.com/office/officeart/2005/8/layout/hierarchy5"/>
    <dgm:cxn modelId="{7F3CD1A8-D475-457C-9930-84994FB95419}" type="presParOf" srcId="{2E5DF35B-15FC-48E8-8946-1C41EDDA5DD4}" destId="{523A4C08-7080-4828-80F7-6A0F00AE1C7F}" srcOrd="2" destOrd="0" presId="urn:microsoft.com/office/officeart/2005/8/layout/hierarchy5"/>
    <dgm:cxn modelId="{757CB4CB-5B27-4BA4-9296-18807FC41E79}" type="presParOf" srcId="{523A4C08-7080-4828-80F7-6A0F00AE1C7F}" destId="{F866B54B-7D2B-4255-B4FD-A24EDA994BEC}" srcOrd="0" destOrd="0" presId="urn:microsoft.com/office/officeart/2005/8/layout/hierarchy5"/>
    <dgm:cxn modelId="{4388F7D8-C148-4364-B286-28EAC2F95BF5}" type="presParOf" srcId="{2E5DF35B-15FC-48E8-8946-1C41EDDA5DD4}" destId="{9011B6F8-3A9C-4DCE-AFDD-D151276C3E0F}" srcOrd="3" destOrd="0" presId="urn:microsoft.com/office/officeart/2005/8/layout/hierarchy5"/>
    <dgm:cxn modelId="{3D595292-7046-4419-8D02-5ACF7240E584}" type="presParOf" srcId="{9011B6F8-3A9C-4DCE-AFDD-D151276C3E0F}" destId="{E85055A5-EC36-4AB2-8685-8F3F08926F97}" srcOrd="0" destOrd="0" presId="urn:microsoft.com/office/officeart/2005/8/layout/hierarchy5"/>
    <dgm:cxn modelId="{89E89864-1E71-4C85-B9B8-F93F5A7069CE}" type="presParOf" srcId="{9011B6F8-3A9C-4DCE-AFDD-D151276C3E0F}" destId="{479816AD-BEBF-407F-A0C2-E6006B095842}" srcOrd="1" destOrd="0" presId="urn:microsoft.com/office/officeart/2005/8/layout/hierarchy5"/>
    <dgm:cxn modelId="{9B942B42-21E2-41F0-BF73-3404DA9B933B}" type="presParOf" srcId="{479816AD-BEBF-407F-A0C2-E6006B095842}" destId="{BEF23B3C-1E16-4B1B-900D-FF2089EAAEC7}" srcOrd="0" destOrd="0" presId="urn:microsoft.com/office/officeart/2005/8/layout/hierarchy5"/>
    <dgm:cxn modelId="{EEADD73C-E409-4EA1-8CC4-3331A6F0336E}" type="presParOf" srcId="{BEF23B3C-1E16-4B1B-900D-FF2089EAAEC7}" destId="{AB40FE3E-1BE0-454B-B12E-81986E5CA37F}" srcOrd="0" destOrd="0" presId="urn:microsoft.com/office/officeart/2005/8/layout/hierarchy5"/>
    <dgm:cxn modelId="{D8C7927B-85DD-4873-AB6F-82AD22B7A5AF}" type="presParOf" srcId="{479816AD-BEBF-407F-A0C2-E6006B095842}" destId="{FEF2F18B-39BE-4FF2-B131-24FB44268A01}" srcOrd="1" destOrd="0" presId="urn:microsoft.com/office/officeart/2005/8/layout/hierarchy5"/>
    <dgm:cxn modelId="{5BE4870A-143A-4D2E-9473-79E7DEB473EE}" type="presParOf" srcId="{FEF2F18B-39BE-4FF2-B131-24FB44268A01}" destId="{93093E33-AEF4-4E37-907D-24E4BFAA5E21}" srcOrd="0" destOrd="0" presId="urn:microsoft.com/office/officeart/2005/8/layout/hierarchy5"/>
    <dgm:cxn modelId="{C9D9C1DE-93AC-4204-89EC-CF14577B2232}" type="presParOf" srcId="{FEF2F18B-39BE-4FF2-B131-24FB44268A01}" destId="{00A5A783-A31D-45A2-A4A5-FDFA05D194BD}" srcOrd="1" destOrd="0" presId="urn:microsoft.com/office/officeart/2005/8/layout/hierarchy5"/>
    <dgm:cxn modelId="{6F00F5A8-5303-48B4-BAAC-88A2AA72BADD}" type="presParOf" srcId="{EB42CA00-9262-44E8-AADD-B06E5EF0DBCA}" destId="{9262314E-B74D-488A-BDEB-7310280F9A07}" srcOrd="1" destOrd="0" presId="urn:microsoft.com/office/officeart/2005/8/layout/hierarchy5"/>
    <dgm:cxn modelId="{F22ABE5C-FE2F-480C-BE7C-73C9DE9A06A4}" type="presParOf" srcId="{9262314E-B74D-488A-BDEB-7310280F9A07}" destId="{88076520-6ECE-4B53-84C2-A2A868D49146}" srcOrd="0" destOrd="0" presId="urn:microsoft.com/office/officeart/2005/8/layout/hierarchy5"/>
    <dgm:cxn modelId="{9D3BB48F-1193-40B1-AD95-1092BFD5CD12}" type="presParOf" srcId="{88076520-6ECE-4B53-84C2-A2A868D49146}" destId="{D1EC4036-C7E1-44E0-AEA0-98FFB3FE7BB1}" srcOrd="0" destOrd="0" presId="urn:microsoft.com/office/officeart/2005/8/layout/hierarchy5"/>
    <dgm:cxn modelId="{2D6E8675-650A-4AFB-B333-D05B7D799C9A}" type="presParOf" srcId="{88076520-6ECE-4B53-84C2-A2A868D49146}" destId="{42A4B708-E792-4DCB-AF11-225DE7B0D727}" srcOrd="1" destOrd="0" presId="urn:microsoft.com/office/officeart/2005/8/layout/hierarchy5"/>
    <dgm:cxn modelId="{A04E8021-FED7-41C7-AF05-3B6D31CC8AE2}" type="presParOf" srcId="{9262314E-B74D-488A-BDEB-7310280F9A07}" destId="{E2D75C93-783D-41A6-AB62-D0815CA2316A}" srcOrd="1" destOrd="0" presId="urn:microsoft.com/office/officeart/2005/8/layout/hierarchy5"/>
    <dgm:cxn modelId="{4D7558ED-A1E9-49D8-99E4-B53B349D4813}" type="presParOf" srcId="{E2D75C93-783D-41A6-AB62-D0815CA2316A}" destId="{B0616FCE-F5EF-4774-B31D-C177C83C0C58}" srcOrd="0" destOrd="0" presId="urn:microsoft.com/office/officeart/2005/8/layout/hierarchy5"/>
    <dgm:cxn modelId="{3FD75CAD-A5B4-443D-87A9-121D3EC560D4}" type="presParOf" srcId="{9262314E-B74D-488A-BDEB-7310280F9A07}" destId="{74AA7978-E32D-41A4-A96F-6D6B16578A88}" srcOrd="2" destOrd="0" presId="urn:microsoft.com/office/officeart/2005/8/layout/hierarchy5"/>
    <dgm:cxn modelId="{A27A9E0F-1D3B-45DD-A353-CAACC4973859}" type="presParOf" srcId="{74AA7978-E32D-41A4-A96F-6D6B16578A88}" destId="{0D6F98C8-D1DE-4457-98E2-40DDFABA23EA}" srcOrd="0" destOrd="0" presId="urn:microsoft.com/office/officeart/2005/8/layout/hierarchy5"/>
    <dgm:cxn modelId="{11F8FF4D-BDDA-4854-A1DA-C59C9AB3BEA3}" type="presParOf" srcId="{74AA7978-E32D-41A4-A96F-6D6B16578A88}" destId="{CF33B9AF-8160-44F3-B1AB-1EE5DD83CE84}" srcOrd="1" destOrd="0" presId="urn:microsoft.com/office/officeart/2005/8/layout/hierarchy5"/>
    <dgm:cxn modelId="{4AFF127A-ED70-4146-A793-93C6AA7BE0BB}" type="presParOf" srcId="{9262314E-B74D-488A-BDEB-7310280F9A07}" destId="{5F43C73E-33FC-4930-8E01-3E9591634810}" srcOrd="3" destOrd="0" presId="urn:microsoft.com/office/officeart/2005/8/layout/hierarchy5"/>
    <dgm:cxn modelId="{6E916098-9070-47D8-A121-E75C14848B26}" type="presParOf" srcId="{5F43C73E-33FC-4930-8E01-3E9591634810}" destId="{E622DE46-3EAD-4FDB-91C2-CF945C261B12}" srcOrd="0" destOrd="0" presId="urn:microsoft.com/office/officeart/2005/8/layout/hierarchy5"/>
    <dgm:cxn modelId="{6EB5136F-8EEB-4578-948D-861F8B73CC77}" type="presParOf" srcId="{9262314E-B74D-488A-BDEB-7310280F9A07}" destId="{14E30126-8FD5-4CF3-8B05-70F7A1227F68}" srcOrd="4" destOrd="0" presId="urn:microsoft.com/office/officeart/2005/8/layout/hierarchy5"/>
    <dgm:cxn modelId="{A8C63A43-2A3E-4559-936C-7F0AAE8335DC}" type="presParOf" srcId="{14E30126-8FD5-4CF3-8B05-70F7A1227F68}" destId="{21241AFA-FCEE-4A6D-A14B-247E170E9E6D}" srcOrd="0" destOrd="0" presId="urn:microsoft.com/office/officeart/2005/8/layout/hierarchy5"/>
    <dgm:cxn modelId="{A5527034-5905-4E49-857D-75A57CBDE57E}" type="presParOf" srcId="{14E30126-8FD5-4CF3-8B05-70F7A1227F68}" destId="{CEF2B53F-F02F-4C5F-8AE7-07E4DFB6D25C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7D089-C911-435A-92D4-FC075C87574E}">
      <dsp:nvSpPr>
        <dsp:cNvPr id="0" name=""/>
        <dsp:cNvSpPr/>
      </dsp:nvSpPr>
      <dsp:spPr>
        <a:xfrm>
          <a:off x="4289094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000" kern="1200"/>
            <a:t>Del-prosjekt</a:t>
          </a:r>
          <a:endParaRPr lang="nb-NO" sz="2500" kern="1200"/>
        </a:p>
      </dsp:txBody>
      <dsp:txXfrm>
        <a:off x="4289094" y="0"/>
        <a:ext cx="1278194" cy="1078147"/>
      </dsp:txXfrm>
    </dsp:sp>
    <dsp:sp modelId="{31FCEB4A-D007-4636-8AFC-FBF64741107A}">
      <dsp:nvSpPr>
        <dsp:cNvPr id="0" name=""/>
        <dsp:cNvSpPr/>
      </dsp:nvSpPr>
      <dsp:spPr>
        <a:xfrm>
          <a:off x="2797867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000" kern="1200"/>
            <a:t>Aktivitet</a:t>
          </a:r>
          <a:endParaRPr lang="nb-NO" sz="2500" kern="1200"/>
        </a:p>
      </dsp:txBody>
      <dsp:txXfrm>
        <a:off x="2797867" y="0"/>
        <a:ext cx="1278194" cy="1078147"/>
      </dsp:txXfrm>
    </dsp:sp>
    <dsp:sp modelId="{9CA81732-F4CE-49F5-ABCC-BC29C9215BD6}">
      <dsp:nvSpPr>
        <dsp:cNvPr id="0" name=""/>
        <dsp:cNvSpPr/>
      </dsp:nvSpPr>
      <dsp:spPr>
        <a:xfrm>
          <a:off x="1306641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2000" kern="1200"/>
            <a:t>Aktivitets-type</a:t>
          </a:r>
        </a:p>
      </dsp:txBody>
      <dsp:txXfrm>
        <a:off x="1306641" y="0"/>
        <a:ext cx="1278194" cy="1078147"/>
      </dsp:txXfrm>
    </dsp:sp>
    <dsp:sp modelId="{C3192294-998D-4925-9864-0F5493BE1276}">
      <dsp:nvSpPr>
        <dsp:cNvPr id="0" name=""/>
        <dsp:cNvSpPr/>
      </dsp:nvSpPr>
      <dsp:spPr>
        <a:xfrm>
          <a:off x="1413157" y="1997819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RD  Driftsaktivitet</a:t>
          </a:r>
        </a:p>
      </dsp:txBody>
      <dsp:txXfrm>
        <a:off x="1428756" y="2013418"/>
        <a:ext cx="1033963" cy="501382"/>
      </dsp:txXfrm>
    </dsp:sp>
    <dsp:sp modelId="{4F6071C6-F078-47E7-8D9C-C4776B9A3707}">
      <dsp:nvSpPr>
        <dsp:cNvPr id="0" name=""/>
        <dsp:cNvSpPr/>
      </dsp:nvSpPr>
      <dsp:spPr>
        <a:xfrm rot="18289469">
          <a:off x="2318307" y="1944538"/>
          <a:ext cx="746088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6088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672699" y="1939223"/>
        <a:ext cx="37304" cy="37304"/>
      </dsp:txXfrm>
    </dsp:sp>
    <dsp:sp modelId="{49D2DD1B-CA1F-4F15-ADAB-D4B4C0956D97}">
      <dsp:nvSpPr>
        <dsp:cNvPr id="0" name=""/>
        <dsp:cNvSpPr/>
      </dsp:nvSpPr>
      <dsp:spPr>
        <a:xfrm>
          <a:off x="2904384" y="1385351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b="0" i="0" u="none" strike="noStrike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 sz="1100" kern="1200">
            <a:solidFill>
              <a:schemeClr val="bg1"/>
            </a:solidFill>
          </a:endParaRPr>
        </a:p>
      </dsp:txBody>
      <dsp:txXfrm>
        <a:off x="2919983" y="1400950"/>
        <a:ext cx="1033963" cy="501382"/>
      </dsp:txXfrm>
    </dsp:sp>
    <dsp:sp modelId="{2CB91D52-C587-411B-BD9B-5F90512EC0A5}">
      <dsp:nvSpPr>
        <dsp:cNvPr id="0" name=""/>
        <dsp:cNvSpPr/>
      </dsp:nvSpPr>
      <dsp:spPr>
        <a:xfrm rot="19457599">
          <a:off x="3920228" y="1485187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4169460" y="1485407"/>
        <a:ext cx="26235" cy="26235"/>
      </dsp:txXfrm>
    </dsp:sp>
    <dsp:sp modelId="{0FA3EC30-89E8-470B-894E-5CCFD268F390}">
      <dsp:nvSpPr>
        <dsp:cNvPr id="0" name=""/>
        <dsp:cNvSpPr/>
      </dsp:nvSpPr>
      <dsp:spPr>
        <a:xfrm>
          <a:off x="4395610" y="1079117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Professor A</a:t>
          </a:r>
        </a:p>
      </dsp:txBody>
      <dsp:txXfrm>
        <a:off x="4411209" y="1094716"/>
        <a:ext cx="1033963" cy="501382"/>
      </dsp:txXfrm>
    </dsp:sp>
    <dsp:sp modelId="{F96D3184-A955-46BA-A339-C7B85E4457D6}">
      <dsp:nvSpPr>
        <dsp:cNvPr id="0" name=""/>
        <dsp:cNvSpPr/>
      </dsp:nvSpPr>
      <dsp:spPr>
        <a:xfrm rot="2142401">
          <a:off x="3920228" y="1791421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4169460" y="1791641"/>
        <a:ext cx="26235" cy="26235"/>
      </dsp:txXfrm>
    </dsp:sp>
    <dsp:sp modelId="{2F44E76B-3C5E-49FF-AE6D-361C15F6FCCC}">
      <dsp:nvSpPr>
        <dsp:cNvPr id="0" name=""/>
        <dsp:cNvSpPr/>
      </dsp:nvSpPr>
      <dsp:spPr>
        <a:xfrm>
          <a:off x="4395610" y="1691585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Professor B</a:t>
          </a:r>
        </a:p>
      </dsp:txBody>
      <dsp:txXfrm>
        <a:off x="4411209" y="1707184"/>
        <a:ext cx="1033963" cy="501382"/>
      </dsp:txXfrm>
    </dsp:sp>
    <dsp:sp modelId="{D952A7BA-142D-442A-B0EC-EE0F5C3A2EA7}">
      <dsp:nvSpPr>
        <dsp:cNvPr id="0" name=""/>
        <dsp:cNvSpPr/>
      </dsp:nvSpPr>
      <dsp:spPr>
        <a:xfrm rot="3310531">
          <a:off x="2318307" y="2557006"/>
          <a:ext cx="746088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6088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672699" y="2551691"/>
        <a:ext cx="37304" cy="37304"/>
      </dsp:txXfrm>
    </dsp:sp>
    <dsp:sp modelId="{0A706720-153F-4523-B184-1EF51C7B08F5}">
      <dsp:nvSpPr>
        <dsp:cNvPr id="0" name=""/>
        <dsp:cNvSpPr/>
      </dsp:nvSpPr>
      <dsp:spPr>
        <a:xfrm>
          <a:off x="2904384" y="2610287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Investering infrastruktur</a:t>
          </a:r>
        </a:p>
      </dsp:txBody>
      <dsp:txXfrm>
        <a:off x="2919983" y="2625886"/>
        <a:ext cx="1033963" cy="501382"/>
      </dsp:txXfrm>
    </dsp:sp>
    <dsp:sp modelId="{0B689192-EC09-4763-9F85-152FABC18087}">
      <dsp:nvSpPr>
        <dsp:cNvPr id="0" name=""/>
        <dsp:cNvSpPr/>
      </dsp:nvSpPr>
      <dsp:spPr>
        <a:xfrm rot="19457599">
          <a:off x="3920228" y="2710123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4169460" y="2710343"/>
        <a:ext cx="26235" cy="26235"/>
      </dsp:txXfrm>
    </dsp:sp>
    <dsp:sp modelId="{B34CC6B2-F808-48C8-8364-330E8A2E707D}">
      <dsp:nvSpPr>
        <dsp:cNvPr id="0" name=""/>
        <dsp:cNvSpPr/>
      </dsp:nvSpPr>
      <dsp:spPr>
        <a:xfrm>
          <a:off x="4395610" y="2304053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Instrument </a:t>
          </a:r>
          <a:r>
            <a:rPr lang="nb-NO" sz="1100" kern="1200" err="1"/>
            <a:t>X</a:t>
          </a:r>
          <a:endParaRPr lang="nb-NO" sz="1100" kern="1200"/>
        </a:p>
      </dsp:txBody>
      <dsp:txXfrm>
        <a:off x="4411209" y="2319652"/>
        <a:ext cx="1033963" cy="501382"/>
      </dsp:txXfrm>
    </dsp:sp>
    <dsp:sp modelId="{61C43142-90FB-4BDD-AF70-BB606AE83217}">
      <dsp:nvSpPr>
        <dsp:cNvPr id="0" name=""/>
        <dsp:cNvSpPr/>
      </dsp:nvSpPr>
      <dsp:spPr>
        <a:xfrm rot="2142401">
          <a:off x="3920228" y="3016357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4169460" y="3016577"/>
        <a:ext cx="26235" cy="26235"/>
      </dsp:txXfrm>
    </dsp:sp>
    <dsp:sp modelId="{A669329B-D9E2-4CC5-A0CA-FCADDB16A5EA}">
      <dsp:nvSpPr>
        <dsp:cNvPr id="0" name=""/>
        <dsp:cNvSpPr/>
      </dsp:nvSpPr>
      <dsp:spPr>
        <a:xfrm>
          <a:off x="4395610" y="2916521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100" kern="1200"/>
            <a:t>Instrument Y</a:t>
          </a:r>
        </a:p>
      </dsp:txBody>
      <dsp:txXfrm>
        <a:off x="4411209" y="2932120"/>
        <a:ext cx="1033963" cy="5013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4082351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Delprosjekt</a:t>
          </a:r>
        </a:p>
      </dsp:txBody>
      <dsp:txXfrm>
        <a:off x="4082351" y="0"/>
        <a:ext cx="1649156" cy="1391051"/>
      </dsp:txXfrm>
    </dsp:sp>
    <dsp:sp modelId="{0B8BEE4E-FC0A-4A09-B691-27C27CC983DC}">
      <dsp:nvSpPr>
        <dsp:cNvPr id="0" name=""/>
        <dsp:cNvSpPr/>
      </dsp:nvSpPr>
      <dsp:spPr>
        <a:xfrm>
          <a:off x="2171034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Prosjekt</a:t>
          </a:r>
        </a:p>
      </dsp:txBody>
      <dsp:txXfrm>
        <a:off x="2171034" y="0"/>
        <a:ext cx="1649156" cy="1391051"/>
      </dsp:txXfrm>
    </dsp:sp>
    <dsp:sp modelId="{DE0BB14A-D822-4924-851B-90EB2A42887E}">
      <dsp:nvSpPr>
        <dsp:cNvPr id="0" name=""/>
        <dsp:cNvSpPr/>
      </dsp:nvSpPr>
      <dsp:spPr>
        <a:xfrm>
          <a:off x="247017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Hovedprosjekt</a:t>
          </a:r>
        </a:p>
      </dsp:txBody>
      <dsp:txXfrm>
        <a:off x="247017" y="0"/>
        <a:ext cx="1649156" cy="1391051"/>
      </dsp:txXfrm>
    </dsp:sp>
    <dsp:sp modelId="{5012B746-0349-4B19-9E33-5C3D2C33AB46}">
      <dsp:nvSpPr>
        <dsp:cNvPr id="0" name=""/>
        <dsp:cNvSpPr/>
      </dsp:nvSpPr>
      <dsp:spPr>
        <a:xfrm>
          <a:off x="384447" y="2577634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Masterprogram</a:t>
          </a:r>
        </a:p>
      </dsp:txBody>
      <dsp:txXfrm>
        <a:off x="404573" y="2597760"/>
        <a:ext cx="1334045" cy="646896"/>
      </dsp:txXfrm>
    </dsp:sp>
    <dsp:sp modelId="{180A2268-9D56-4367-AE95-60B65D91DC09}">
      <dsp:nvSpPr>
        <dsp:cNvPr id="0" name=""/>
        <dsp:cNvSpPr/>
      </dsp:nvSpPr>
      <dsp:spPr>
        <a:xfrm rot="18289469">
          <a:off x="1552293" y="2512760"/>
          <a:ext cx="96262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962621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2009538" y="2502032"/>
        <a:ext cx="48131" cy="48131"/>
      </dsp:txXfrm>
    </dsp:sp>
    <dsp:sp modelId="{EA92C18B-A05D-4FF7-A971-9D693147883D}">
      <dsp:nvSpPr>
        <dsp:cNvPr id="0" name=""/>
        <dsp:cNvSpPr/>
      </dsp:nvSpPr>
      <dsp:spPr>
        <a:xfrm>
          <a:off x="2308463" y="1787413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333333 Master </a:t>
          </a:r>
          <a:r>
            <a:rPr lang="nb-NO" sz="1400" kern="1200" err="1"/>
            <a:t>fysio</a:t>
          </a:r>
          <a:endParaRPr lang="nb-NO" sz="1400" kern="1200"/>
        </a:p>
      </dsp:txBody>
      <dsp:txXfrm>
        <a:off x="2328589" y="1807539"/>
        <a:ext cx="1334045" cy="646896"/>
      </dsp:txXfrm>
    </dsp:sp>
    <dsp:sp modelId="{F29163B2-DA60-41EE-9C93-E9474EB4DAAD}">
      <dsp:nvSpPr>
        <dsp:cNvPr id="0" name=""/>
        <dsp:cNvSpPr/>
      </dsp:nvSpPr>
      <dsp:spPr>
        <a:xfrm rot="19457599">
          <a:off x="3619130" y="1920094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940696" y="1916507"/>
        <a:ext cx="33849" cy="33849"/>
      </dsp:txXfrm>
    </dsp:sp>
    <dsp:sp modelId="{A43CB7CD-31FF-4102-8F6D-F6155D21BFC6}">
      <dsp:nvSpPr>
        <dsp:cNvPr id="0" name=""/>
        <dsp:cNvSpPr/>
      </dsp:nvSpPr>
      <dsp:spPr>
        <a:xfrm>
          <a:off x="4232480" y="1392302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333333001 Masterstudent XX</a:t>
          </a:r>
        </a:p>
      </dsp:txBody>
      <dsp:txXfrm>
        <a:off x="4252606" y="1412428"/>
        <a:ext cx="1334045" cy="646896"/>
      </dsp:txXfrm>
    </dsp:sp>
    <dsp:sp modelId="{8CF9F0B5-AAFC-48F5-807D-1EFFF15F2E69}">
      <dsp:nvSpPr>
        <dsp:cNvPr id="0" name=""/>
        <dsp:cNvSpPr/>
      </dsp:nvSpPr>
      <dsp:spPr>
        <a:xfrm rot="2142401">
          <a:off x="3619130" y="2315205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940696" y="2311618"/>
        <a:ext cx="33849" cy="33849"/>
      </dsp:txXfrm>
    </dsp:sp>
    <dsp:sp modelId="{F11B34D1-E246-4446-AAC6-E4A36B85FF12}">
      <dsp:nvSpPr>
        <dsp:cNvPr id="0" name=""/>
        <dsp:cNvSpPr/>
      </dsp:nvSpPr>
      <dsp:spPr>
        <a:xfrm>
          <a:off x="4232480" y="2182523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333333002 Masterstudent YY</a:t>
          </a:r>
        </a:p>
      </dsp:txBody>
      <dsp:txXfrm>
        <a:off x="4252606" y="2202649"/>
        <a:ext cx="1334045" cy="646896"/>
      </dsp:txXfrm>
    </dsp:sp>
    <dsp:sp modelId="{D5BE51A4-22A1-45A6-BAEB-5092DC5DEE49}">
      <dsp:nvSpPr>
        <dsp:cNvPr id="0" name=""/>
        <dsp:cNvSpPr/>
      </dsp:nvSpPr>
      <dsp:spPr>
        <a:xfrm rot="3310531">
          <a:off x="1552293" y="3302981"/>
          <a:ext cx="96262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962621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2009538" y="3292253"/>
        <a:ext cx="48131" cy="48131"/>
      </dsp:txXfrm>
    </dsp:sp>
    <dsp:sp modelId="{ABCA2AB5-31E5-4A60-855A-972D94E84372}">
      <dsp:nvSpPr>
        <dsp:cNvPr id="0" name=""/>
        <dsp:cNvSpPr/>
      </dsp:nvSpPr>
      <dsp:spPr>
        <a:xfrm>
          <a:off x="2308463" y="3367855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444444 Master </a:t>
          </a:r>
          <a:r>
            <a:rPr lang="nb-NO" sz="1400" kern="1200" err="1"/>
            <a:t>nevro</a:t>
          </a:r>
          <a:endParaRPr lang="nb-NO" sz="1400" kern="1200"/>
        </a:p>
      </dsp:txBody>
      <dsp:txXfrm>
        <a:off x="2328589" y="3387981"/>
        <a:ext cx="1334045" cy="646896"/>
      </dsp:txXfrm>
    </dsp:sp>
    <dsp:sp modelId="{77150375-35D9-4E8A-A191-228EB82C5D21}">
      <dsp:nvSpPr>
        <dsp:cNvPr id="0" name=""/>
        <dsp:cNvSpPr/>
      </dsp:nvSpPr>
      <dsp:spPr>
        <a:xfrm rot="19457599">
          <a:off x="3619130" y="3500536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940696" y="3496949"/>
        <a:ext cx="33849" cy="33849"/>
      </dsp:txXfrm>
    </dsp:sp>
    <dsp:sp modelId="{19082A1C-C158-4088-BFF4-A000F078F443}">
      <dsp:nvSpPr>
        <dsp:cNvPr id="0" name=""/>
        <dsp:cNvSpPr/>
      </dsp:nvSpPr>
      <dsp:spPr>
        <a:xfrm>
          <a:off x="4232480" y="2972744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44444401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Generell drift</a:t>
          </a:r>
        </a:p>
      </dsp:txBody>
      <dsp:txXfrm>
        <a:off x="4252606" y="2992870"/>
        <a:ext cx="1334045" cy="646896"/>
      </dsp:txXfrm>
    </dsp:sp>
    <dsp:sp modelId="{3728E5FB-7008-4FE2-9F6A-F1B7B9038021}">
      <dsp:nvSpPr>
        <dsp:cNvPr id="0" name=""/>
        <dsp:cNvSpPr/>
      </dsp:nvSpPr>
      <dsp:spPr>
        <a:xfrm rot="2142401">
          <a:off x="3619130" y="3895647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940696" y="3892060"/>
        <a:ext cx="33849" cy="33849"/>
      </dsp:txXfrm>
    </dsp:sp>
    <dsp:sp modelId="{5DCD88EE-F40B-4799-82E8-C29E501B3021}">
      <dsp:nvSpPr>
        <dsp:cNvPr id="0" name=""/>
        <dsp:cNvSpPr/>
      </dsp:nvSpPr>
      <dsp:spPr>
        <a:xfrm>
          <a:off x="4232480" y="3762965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Investering simulering</a:t>
          </a:r>
        </a:p>
      </dsp:txBody>
      <dsp:txXfrm>
        <a:off x="4252606" y="3783091"/>
        <a:ext cx="1334045" cy="6468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821691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Delprosjekt</a:t>
          </a:r>
        </a:p>
      </dsp:txBody>
      <dsp:txXfrm>
        <a:off x="3821691" y="0"/>
        <a:ext cx="1641611" cy="703376"/>
      </dsp:txXfrm>
    </dsp:sp>
    <dsp:sp modelId="{0B8BEE4E-FC0A-4A09-B691-27C27CC983DC}">
      <dsp:nvSpPr>
        <dsp:cNvPr id="0" name=""/>
        <dsp:cNvSpPr/>
      </dsp:nvSpPr>
      <dsp:spPr>
        <a:xfrm>
          <a:off x="1917506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Prosjekt</a:t>
          </a:r>
        </a:p>
      </dsp:txBody>
      <dsp:txXfrm>
        <a:off x="1917506" y="0"/>
        <a:ext cx="1641611" cy="703376"/>
      </dsp:txXfrm>
    </dsp:sp>
    <dsp:sp modelId="{DE0BB14A-D822-4924-851B-90EB2A42887E}">
      <dsp:nvSpPr>
        <dsp:cNvPr id="0" name=""/>
        <dsp:cNvSpPr/>
      </dsp:nvSpPr>
      <dsp:spPr>
        <a:xfrm>
          <a:off x="680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Hovedprosjekt</a:t>
          </a:r>
        </a:p>
      </dsp:txBody>
      <dsp:txXfrm>
        <a:off x="680" y="0"/>
        <a:ext cx="1641611" cy="703376"/>
      </dsp:txXfrm>
    </dsp:sp>
    <dsp:sp modelId="{5012B746-0349-4B19-9E33-5C3D2C33AB46}">
      <dsp:nvSpPr>
        <dsp:cNvPr id="0" name=""/>
        <dsp:cNvSpPr/>
      </dsp:nvSpPr>
      <dsp:spPr>
        <a:xfrm>
          <a:off x="138287" y="1133073"/>
          <a:ext cx="1376072" cy="688036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Ikke aktuell</a:t>
          </a:r>
        </a:p>
      </dsp:txBody>
      <dsp:txXfrm>
        <a:off x="158439" y="1153225"/>
        <a:ext cx="1335768" cy="647732"/>
      </dsp:txXfrm>
    </dsp:sp>
    <dsp:sp modelId="{180A2268-9D56-4367-AE95-60B65D91DC09}">
      <dsp:nvSpPr>
        <dsp:cNvPr id="0" name=""/>
        <dsp:cNvSpPr/>
      </dsp:nvSpPr>
      <dsp:spPr>
        <a:xfrm>
          <a:off x="1514360" y="1450679"/>
          <a:ext cx="550428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550428" y="264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1775813" y="1463330"/>
        <a:ext cx="27521" cy="27521"/>
      </dsp:txXfrm>
    </dsp:sp>
    <dsp:sp modelId="{EA92C18B-A05D-4FF7-A971-9D693147883D}">
      <dsp:nvSpPr>
        <dsp:cNvPr id="0" name=""/>
        <dsp:cNvSpPr/>
      </dsp:nvSpPr>
      <dsp:spPr>
        <a:xfrm>
          <a:off x="2064789" y="1133073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 dirty="0"/>
            <a:t>222222 Studieprogram</a:t>
          </a:r>
        </a:p>
      </dsp:txBody>
      <dsp:txXfrm>
        <a:off x="2084941" y="1153225"/>
        <a:ext cx="1335768" cy="647732"/>
      </dsp:txXfrm>
    </dsp:sp>
    <dsp:sp modelId="{F29163B2-DA60-41EE-9C93-E9474EB4DAAD}">
      <dsp:nvSpPr>
        <dsp:cNvPr id="0" name=""/>
        <dsp:cNvSpPr/>
      </dsp:nvSpPr>
      <dsp:spPr>
        <a:xfrm rot="19457599">
          <a:off x="3377148" y="1252869"/>
          <a:ext cx="677855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677855" y="264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699129" y="1262334"/>
        <a:ext cx="33892" cy="33892"/>
      </dsp:txXfrm>
    </dsp:sp>
    <dsp:sp modelId="{A43CB7CD-31FF-4102-8F6D-F6155D21BFC6}">
      <dsp:nvSpPr>
        <dsp:cNvPr id="0" name=""/>
        <dsp:cNvSpPr/>
      </dsp:nvSpPr>
      <dsp:spPr>
        <a:xfrm>
          <a:off x="3991290" y="737452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 dirty="0"/>
            <a:t>222222001 Læringsareal</a:t>
          </a:r>
        </a:p>
      </dsp:txBody>
      <dsp:txXfrm>
        <a:off x="4011442" y="757604"/>
        <a:ext cx="1335768" cy="647732"/>
      </dsp:txXfrm>
    </dsp:sp>
    <dsp:sp modelId="{8CF9F0B5-AAFC-48F5-807D-1EFFF15F2E69}">
      <dsp:nvSpPr>
        <dsp:cNvPr id="0" name=""/>
        <dsp:cNvSpPr/>
      </dsp:nvSpPr>
      <dsp:spPr>
        <a:xfrm rot="2142401">
          <a:off x="3377148" y="1648490"/>
          <a:ext cx="677855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677855" y="264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699129" y="1657955"/>
        <a:ext cx="33892" cy="33892"/>
      </dsp:txXfrm>
    </dsp:sp>
    <dsp:sp modelId="{F11B34D1-E246-4446-AAC6-E4A36B85FF12}">
      <dsp:nvSpPr>
        <dsp:cNvPr id="0" name=""/>
        <dsp:cNvSpPr/>
      </dsp:nvSpPr>
      <dsp:spPr>
        <a:xfrm>
          <a:off x="3991290" y="1528693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 dirty="0"/>
            <a:t>222222002 Generell </a:t>
          </a:r>
          <a:r>
            <a:rPr lang="nb-NO" sz="1400" kern="1200" dirty="0" err="1"/>
            <a:t>utd.drift</a:t>
          </a:r>
          <a:endParaRPr lang="nb-NO" sz="1400" kern="1200" dirty="0"/>
        </a:p>
      </dsp:txBody>
      <dsp:txXfrm>
        <a:off x="4011442" y="1548845"/>
        <a:ext cx="1335768" cy="64773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821732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Delprosjekt</a:t>
          </a:r>
        </a:p>
      </dsp:txBody>
      <dsp:txXfrm>
        <a:off x="3821732" y="0"/>
        <a:ext cx="1641672" cy="559927"/>
      </dsp:txXfrm>
    </dsp:sp>
    <dsp:sp modelId="{0B8BEE4E-FC0A-4A09-B691-27C27CC983DC}">
      <dsp:nvSpPr>
        <dsp:cNvPr id="0" name=""/>
        <dsp:cNvSpPr/>
      </dsp:nvSpPr>
      <dsp:spPr>
        <a:xfrm>
          <a:off x="1917475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Prosjekt</a:t>
          </a:r>
        </a:p>
      </dsp:txBody>
      <dsp:txXfrm>
        <a:off x="1917475" y="0"/>
        <a:ext cx="1641672" cy="559927"/>
      </dsp:txXfrm>
    </dsp:sp>
    <dsp:sp modelId="{DE0BB14A-D822-4924-851B-90EB2A42887E}">
      <dsp:nvSpPr>
        <dsp:cNvPr id="0" name=""/>
        <dsp:cNvSpPr/>
      </dsp:nvSpPr>
      <dsp:spPr>
        <a:xfrm>
          <a:off x="578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/>
            <a:t>Hovedprosjekt</a:t>
          </a:r>
        </a:p>
      </dsp:txBody>
      <dsp:txXfrm>
        <a:off x="578" y="0"/>
        <a:ext cx="1641672" cy="559927"/>
      </dsp:txXfrm>
    </dsp:sp>
    <dsp:sp modelId="{5012B746-0349-4B19-9E33-5C3D2C33AB46}">
      <dsp:nvSpPr>
        <dsp:cNvPr id="0" name=""/>
        <dsp:cNvSpPr/>
      </dsp:nvSpPr>
      <dsp:spPr>
        <a:xfrm>
          <a:off x="138190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Ikke aktuell</a:t>
          </a:r>
        </a:p>
      </dsp:txBody>
      <dsp:txXfrm>
        <a:off x="158343" y="851969"/>
        <a:ext cx="1335817" cy="647755"/>
      </dsp:txXfrm>
    </dsp:sp>
    <dsp:sp modelId="{180A2268-9D56-4367-AE95-60B65D91DC09}">
      <dsp:nvSpPr>
        <dsp:cNvPr id="0" name=""/>
        <dsp:cNvSpPr/>
      </dsp:nvSpPr>
      <dsp:spPr>
        <a:xfrm>
          <a:off x="1514314" y="1142669"/>
          <a:ext cx="550449" cy="66357"/>
        </a:xfrm>
        <a:custGeom>
          <a:avLst/>
          <a:gdLst/>
          <a:ahLst/>
          <a:cxnLst/>
          <a:rect l="0" t="0" r="0" b="0"/>
          <a:pathLst>
            <a:path>
              <a:moveTo>
                <a:pt x="0" y="33178"/>
              </a:moveTo>
              <a:lnTo>
                <a:pt x="550449" y="3317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1775777" y="1162086"/>
        <a:ext cx="27522" cy="27522"/>
      </dsp:txXfrm>
    </dsp:sp>
    <dsp:sp modelId="{EA92C18B-A05D-4FF7-A971-9D693147883D}">
      <dsp:nvSpPr>
        <dsp:cNvPr id="0" name=""/>
        <dsp:cNvSpPr/>
      </dsp:nvSpPr>
      <dsp:spPr>
        <a:xfrm>
          <a:off x="2064763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Ikke aktuell/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111111 Ommøblering EPT</a:t>
          </a:r>
        </a:p>
      </dsp:txBody>
      <dsp:txXfrm>
        <a:off x="2084916" y="851969"/>
        <a:ext cx="1335817" cy="647755"/>
      </dsp:txXfrm>
    </dsp:sp>
    <dsp:sp modelId="{F29163B2-DA60-41EE-9C93-E9474EB4DAAD}">
      <dsp:nvSpPr>
        <dsp:cNvPr id="0" name=""/>
        <dsp:cNvSpPr/>
      </dsp:nvSpPr>
      <dsp:spPr>
        <a:xfrm>
          <a:off x="3440887" y="1142669"/>
          <a:ext cx="550449" cy="66357"/>
        </a:xfrm>
        <a:custGeom>
          <a:avLst/>
          <a:gdLst/>
          <a:ahLst/>
          <a:cxnLst/>
          <a:rect l="0" t="0" r="0" b="0"/>
          <a:pathLst>
            <a:path>
              <a:moveTo>
                <a:pt x="0" y="33178"/>
              </a:moveTo>
              <a:lnTo>
                <a:pt x="550449" y="3317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100" kern="1200"/>
        </a:p>
      </dsp:txBody>
      <dsp:txXfrm>
        <a:off x="3702351" y="1162086"/>
        <a:ext cx="27522" cy="27522"/>
      </dsp:txXfrm>
    </dsp:sp>
    <dsp:sp modelId="{A43CB7CD-31FF-4102-8F6D-F6155D21BFC6}">
      <dsp:nvSpPr>
        <dsp:cNvPr id="0" name=""/>
        <dsp:cNvSpPr/>
      </dsp:nvSpPr>
      <dsp:spPr>
        <a:xfrm>
          <a:off x="3991337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400" kern="1200"/>
            <a:t>111111001 Ommøblering EPT</a:t>
          </a:r>
        </a:p>
      </dsp:txBody>
      <dsp:txXfrm>
        <a:off x="4011490" y="851969"/>
        <a:ext cx="1335817" cy="6477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25EE1B-E91C-4724-B4AB-1F97ED02D5AA}">
      <dsp:nvSpPr>
        <dsp:cNvPr id="0" name=""/>
        <dsp:cNvSpPr/>
      </dsp:nvSpPr>
      <dsp:spPr>
        <a:xfrm>
          <a:off x="3607141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kern="1200"/>
            <a:t>Arbeidspakke</a:t>
          </a:r>
        </a:p>
      </dsp:txBody>
      <dsp:txXfrm>
        <a:off x="3607141" y="0"/>
        <a:ext cx="939508" cy="1225550"/>
      </dsp:txXfrm>
    </dsp:sp>
    <dsp:sp modelId="{21241AFA-FCEE-4A6D-A14B-247E170E9E6D}">
      <dsp:nvSpPr>
        <dsp:cNvPr id="0" name=""/>
        <dsp:cNvSpPr/>
      </dsp:nvSpPr>
      <dsp:spPr>
        <a:xfrm>
          <a:off x="2511048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kern="1200"/>
            <a:t>Delprosjekt</a:t>
          </a:r>
        </a:p>
      </dsp:txBody>
      <dsp:txXfrm>
        <a:off x="2511048" y="0"/>
        <a:ext cx="939508" cy="1225550"/>
      </dsp:txXfrm>
    </dsp:sp>
    <dsp:sp modelId="{0D6F98C8-D1DE-4457-98E2-40DDFABA23EA}">
      <dsp:nvSpPr>
        <dsp:cNvPr id="0" name=""/>
        <dsp:cNvSpPr/>
      </dsp:nvSpPr>
      <dsp:spPr>
        <a:xfrm>
          <a:off x="1414954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kern="1200"/>
            <a:t>Prosjekt</a:t>
          </a:r>
        </a:p>
      </dsp:txBody>
      <dsp:txXfrm>
        <a:off x="1414954" y="0"/>
        <a:ext cx="939508" cy="1225550"/>
      </dsp:txXfrm>
    </dsp:sp>
    <dsp:sp modelId="{D1EC4036-C7E1-44E0-AEA0-98FFB3FE7BB1}">
      <dsp:nvSpPr>
        <dsp:cNvPr id="0" name=""/>
        <dsp:cNvSpPr/>
      </dsp:nvSpPr>
      <dsp:spPr>
        <a:xfrm>
          <a:off x="318861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000" kern="1200"/>
            <a:t>Hovedprosjekt</a:t>
          </a:r>
        </a:p>
      </dsp:txBody>
      <dsp:txXfrm>
        <a:off x="318861" y="0"/>
        <a:ext cx="939508" cy="1225550"/>
      </dsp:txXfrm>
    </dsp:sp>
    <dsp:sp modelId="{F91660F9-9DA9-4BCC-BFF0-439EB06AE054}">
      <dsp:nvSpPr>
        <dsp:cNvPr id="0" name=""/>
        <dsp:cNvSpPr/>
      </dsp:nvSpPr>
      <dsp:spPr>
        <a:xfrm>
          <a:off x="397153" y="2159155"/>
          <a:ext cx="782923" cy="13547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SFI – Center </a:t>
          </a:r>
          <a:r>
            <a:rPr lang="nb-NO" sz="900" kern="1200" err="1"/>
            <a:t>of</a:t>
          </a:r>
          <a:r>
            <a:rPr lang="nb-NO" sz="900" kern="1200"/>
            <a:t> </a:t>
          </a:r>
          <a:r>
            <a:rPr lang="nb-NO" sz="900" kern="1200" err="1"/>
            <a:t>mobility</a:t>
          </a:r>
          <a:endParaRPr lang="nb-NO" sz="900" kern="1200"/>
        </a:p>
      </dsp:txBody>
      <dsp:txXfrm>
        <a:off x="420084" y="2182086"/>
        <a:ext cx="737061" cy="1308909"/>
      </dsp:txXfrm>
    </dsp:sp>
    <dsp:sp modelId="{C6498F3A-E144-4EA7-8583-38A843F262DC}">
      <dsp:nvSpPr>
        <dsp:cNvPr id="0" name=""/>
        <dsp:cNvSpPr/>
      </dsp:nvSpPr>
      <dsp:spPr>
        <a:xfrm rot="17578988">
          <a:off x="935636" y="2458724"/>
          <a:ext cx="802052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802052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1316611" y="2447297"/>
        <a:ext cx="40102" cy="40102"/>
      </dsp:txXfrm>
    </dsp:sp>
    <dsp:sp modelId="{9C373FCA-D79C-44D5-9300-9CFC761AA81C}">
      <dsp:nvSpPr>
        <dsp:cNvPr id="0" name=""/>
        <dsp:cNvSpPr/>
      </dsp:nvSpPr>
      <dsp:spPr>
        <a:xfrm>
          <a:off x="1493247" y="1752925"/>
          <a:ext cx="782923" cy="69046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 err="1"/>
            <a:t>Mobilise</a:t>
          </a:r>
          <a:r>
            <a:rPr lang="nb-NO" sz="900" kern="1200"/>
            <a:t>-D</a:t>
          </a:r>
        </a:p>
      </dsp:txBody>
      <dsp:txXfrm>
        <a:off x="1513470" y="1773148"/>
        <a:ext cx="742477" cy="650014"/>
      </dsp:txXfrm>
    </dsp:sp>
    <dsp:sp modelId="{2EFC976A-E189-42FD-A925-E7416E513E1E}">
      <dsp:nvSpPr>
        <dsp:cNvPr id="0" name=""/>
        <dsp:cNvSpPr/>
      </dsp:nvSpPr>
      <dsp:spPr>
        <a:xfrm rot="19457599">
          <a:off x="2239921" y="1976986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423114" y="1975969"/>
        <a:ext cx="19283" cy="19283"/>
      </dsp:txXfrm>
    </dsp:sp>
    <dsp:sp modelId="{1840529B-EB1A-49D8-A620-57054FC55365}">
      <dsp:nvSpPr>
        <dsp:cNvPr id="0" name=""/>
        <dsp:cNvSpPr/>
      </dsp:nvSpPr>
      <dsp:spPr>
        <a:xfrm>
          <a:off x="2589340" y="1677334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 err="1"/>
            <a:t>Mobilise</a:t>
          </a:r>
          <a:r>
            <a:rPr lang="nb-NO" sz="900" kern="1200"/>
            <a:t>-D EU H2020</a:t>
          </a:r>
        </a:p>
      </dsp:txBody>
      <dsp:txXfrm>
        <a:off x="2600806" y="1688800"/>
        <a:ext cx="759991" cy="368529"/>
      </dsp:txXfrm>
    </dsp:sp>
    <dsp:sp modelId="{B5DE5F4C-4E3F-4757-9D9B-D92B8CBCB1D1}">
      <dsp:nvSpPr>
        <dsp:cNvPr id="0" name=""/>
        <dsp:cNvSpPr/>
      </dsp:nvSpPr>
      <dsp:spPr>
        <a:xfrm rot="18289469">
          <a:off x="3254651" y="1639350"/>
          <a:ext cx="548396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548396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515139" y="1634265"/>
        <a:ext cx="27419" cy="27419"/>
      </dsp:txXfrm>
    </dsp:sp>
    <dsp:sp modelId="{A5B62940-8BF5-480D-AAC2-029B26C16C98}">
      <dsp:nvSpPr>
        <dsp:cNvPr id="0" name=""/>
        <dsp:cNvSpPr/>
      </dsp:nvSpPr>
      <dsp:spPr>
        <a:xfrm>
          <a:off x="3685434" y="1227153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WP1</a:t>
          </a:r>
        </a:p>
      </dsp:txBody>
      <dsp:txXfrm>
        <a:off x="3696900" y="1238619"/>
        <a:ext cx="759991" cy="368529"/>
      </dsp:txXfrm>
    </dsp:sp>
    <dsp:sp modelId="{01A08821-9AAF-4562-B87B-1A54E677CDF0}">
      <dsp:nvSpPr>
        <dsp:cNvPr id="0" name=""/>
        <dsp:cNvSpPr/>
      </dsp:nvSpPr>
      <dsp:spPr>
        <a:xfrm>
          <a:off x="3372264" y="1864441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521020" y="1865236"/>
        <a:ext cx="15658" cy="15658"/>
      </dsp:txXfrm>
    </dsp:sp>
    <dsp:sp modelId="{59F93108-6DBB-4166-8184-49AF43B15928}">
      <dsp:nvSpPr>
        <dsp:cNvPr id="0" name=""/>
        <dsp:cNvSpPr/>
      </dsp:nvSpPr>
      <dsp:spPr>
        <a:xfrm>
          <a:off x="3685434" y="1677334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WP2</a:t>
          </a:r>
        </a:p>
      </dsp:txBody>
      <dsp:txXfrm>
        <a:off x="3696900" y="1688800"/>
        <a:ext cx="759991" cy="368529"/>
      </dsp:txXfrm>
    </dsp:sp>
    <dsp:sp modelId="{7C4F2FFA-A89D-4D85-8425-9537B2337633}">
      <dsp:nvSpPr>
        <dsp:cNvPr id="0" name=""/>
        <dsp:cNvSpPr/>
      </dsp:nvSpPr>
      <dsp:spPr>
        <a:xfrm rot="3310531">
          <a:off x="3254651" y="2089531"/>
          <a:ext cx="548396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548396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515139" y="2084446"/>
        <a:ext cx="27419" cy="27419"/>
      </dsp:txXfrm>
    </dsp:sp>
    <dsp:sp modelId="{35EDD057-D0E6-4721-A13F-5474F1075904}">
      <dsp:nvSpPr>
        <dsp:cNvPr id="0" name=""/>
        <dsp:cNvSpPr/>
      </dsp:nvSpPr>
      <dsp:spPr>
        <a:xfrm>
          <a:off x="3685434" y="212751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WP3</a:t>
          </a:r>
        </a:p>
      </dsp:txBody>
      <dsp:txXfrm>
        <a:off x="3696900" y="2138981"/>
        <a:ext cx="759991" cy="368529"/>
      </dsp:txXfrm>
    </dsp:sp>
    <dsp:sp modelId="{16069183-BA56-4ABB-A35C-1A9ACFCC121E}">
      <dsp:nvSpPr>
        <dsp:cNvPr id="0" name=""/>
        <dsp:cNvSpPr/>
      </dsp:nvSpPr>
      <dsp:spPr>
        <a:xfrm rot="2142401">
          <a:off x="2239921" y="2202077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423114" y="2201059"/>
        <a:ext cx="19283" cy="19283"/>
      </dsp:txXfrm>
    </dsp:sp>
    <dsp:sp modelId="{963C06EB-65B1-43EE-8802-EED0862D045B}">
      <dsp:nvSpPr>
        <dsp:cNvPr id="0" name=""/>
        <dsp:cNvSpPr/>
      </dsp:nvSpPr>
      <dsp:spPr>
        <a:xfrm>
          <a:off x="2589340" y="212751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 err="1"/>
            <a:t>Mobilise</a:t>
          </a:r>
          <a:r>
            <a:rPr lang="nb-NO" sz="900" kern="1200"/>
            <a:t>-D Næringsliv</a:t>
          </a:r>
        </a:p>
      </dsp:txBody>
      <dsp:txXfrm>
        <a:off x="2600806" y="2138981"/>
        <a:ext cx="759991" cy="368529"/>
      </dsp:txXfrm>
    </dsp:sp>
    <dsp:sp modelId="{7D2594EB-30C5-4A0B-8F2C-F2E26791F7A1}">
      <dsp:nvSpPr>
        <dsp:cNvPr id="0" name=""/>
        <dsp:cNvSpPr/>
      </dsp:nvSpPr>
      <dsp:spPr>
        <a:xfrm rot="1640931">
          <a:off x="1160373" y="2908905"/>
          <a:ext cx="352578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52578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1327848" y="2908715"/>
        <a:ext cx="17628" cy="17628"/>
      </dsp:txXfrm>
    </dsp:sp>
    <dsp:sp modelId="{C5BCC7EC-A6F5-4627-BC6A-4BC838552146}">
      <dsp:nvSpPr>
        <dsp:cNvPr id="0" name=""/>
        <dsp:cNvSpPr/>
      </dsp:nvSpPr>
      <dsp:spPr>
        <a:xfrm>
          <a:off x="1493247" y="2527061"/>
          <a:ext cx="782923" cy="9429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PreventIT</a:t>
          </a:r>
        </a:p>
      </dsp:txBody>
      <dsp:txXfrm>
        <a:off x="1516178" y="2549992"/>
        <a:ext cx="737061" cy="897052"/>
      </dsp:txXfrm>
    </dsp:sp>
    <dsp:sp modelId="{A156A696-0C1B-4F09-B916-BD5469990C82}">
      <dsp:nvSpPr>
        <dsp:cNvPr id="0" name=""/>
        <dsp:cNvSpPr/>
      </dsp:nvSpPr>
      <dsp:spPr>
        <a:xfrm>
          <a:off x="2276171" y="2989894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424926" y="2990689"/>
        <a:ext cx="15658" cy="15658"/>
      </dsp:txXfrm>
    </dsp:sp>
    <dsp:sp modelId="{2F1721C2-F78B-46BD-9792-595200B3B00D}">
      <dsp:nvSpPr>
        <dsp:cNvPr id="0" name=""/>
        <dsp:cNvSpPr/>
      </dsp:nvSpPr>
      <dsp:spPr>
        <a:xfrm>
          <a:off x="2589340" y="2802787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PreventIT EU H2020</a:t>
          </a:r>
        </a:p>
      </dsp:txBody>
      <dsp:txXfrm>
        <a:off x="2600806" y="2814253"/>
        <a:ext cx="759991" cy="368529"/>
      </dsp:txXfrm>
    </dsp:sp>
    <dsp:sp modelId="{2EBD741D-113D-45AA-8319-AACC6861E0D4}">
      <dsp:nvSpPr>
        <dsp:cNvPr id="0" name=""/>
        <dsp:cNvSpPr/>
      </dsp:nvSpPr>
      <dsp:spPr>
        <a:xfrm rot="19457599">
          <a:off x="3336014" y="2877349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519207" y="2876331"/>
        <a:ext cx="19283" cy="19283"/>
      </dsp:txXfrm>
    </dsp:sp>
    <dsp:sp modelId="{78AF869F-0C39-4C67-B8A9-702E454BBDA0}">
      <dsp:nvSpPr>
        <dsp:cNvPr id="0" name=""/>
        <dsp:cNvSpPr/>
      </dsp:nvSpPr>
      <dsp:spPr>
        <a:xfrm>
          <a:off x="3685434" y="2577697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WP1</a:t>
          </a:r>
        </a:p>
      </dsp:txBody>
      <dsp:txXfrm>
        <a:off x="3696900" y="2589163"/>
        <a:ext cx="759991" cy="368529"/>
      </dsp:txXfrm>
    </dsp:sp>
    <dsp:sp modelId="{AABAAF17-BB44-4B19-9101-D4AD256CCD1E}">
      <dsp:nvSpPr>
        <dsp:cNvPr id="0" name=""/>
        <dsp:cNvSpPr/>
      </dsp:nvSpPr>
      <dsp:spPr>
        <a:xfrm rot="2142401">
          <a:off x="3336014" y="3102439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519207" y="3101422"/>
        <a:ext cx="19283" cy="19283"/>
      </dsp:txXfrm>
    </dsp:sp>
    <dsp:sp modelId="{1E093CEC-59E8-4F75-9BE0-DAC937E232D7}">
      <dsp:nvSpPr>
        <dsp:cNvPr id="0" name=""/>
        <dsp:cNvSpPr/>
      </dsp:nvSpPr>
      <dsp:spPr>
        <a:xfrm>
          <a:off x="3685434" y="3027878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/>
            <a:t>WP2</a:t>
          </a:r>
        </a:p>
      </dsp:txBody>
      <dsp:txXfrm>
        <a:off x="3696900" y="3039344"/>
        <a:ext cx="759991" cy="368529"/>
      </dsp:txXfrm>
    </dsp:sp>
    <dsp:sp modelId="{688300FA-DE9B-4E5E-B85E-940A1FB73DC4}">
      <dsp:nvSpPr>
        <dsp:cNvPr id="0" name=""/>
        <dsp:cNvSpPr/>
      </dsp:nvSpPr>
      <dsp:spPr>
        <a:xfrm rot="4234292">
          <a:off x="865914" y="3271859"/>
          <a:ext cx="941495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941495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1313125" y="3256946"/>
        <a:ext cx="47074" cy="47074"/>
      </dsp:txXfrm>
    </dsp:sp>
    <dsp:sp modelId="{50C0B034-6B0F-480C-94D8-4BF748885748}">
      <dsp:nvSpPr>
        <dsp:cNvPr id="0" name=""/>
        <dsp:cNvSpPr/>
      </dsp:nvSpPr>
      <dsp:spPr>
        <a:xfrm>
          <a:off x="1493247" y="352869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 err="1"/>
            <a:t>Exergaming</a:t>
          </a:r>
          <a:r>
            <a:rPr lang="nb-NO" sz="900" kern="1200"/>
            <a:t> for </a:t>
          </a:r>
          <a:r>
            <a:rPr lang="nb-NO" sz="900" kern="1200" err="1"/>
            <a:t>active</a:t>
          </a:r>
          <a:r>
            <a:rPr lang="nb-NO" sz="900" kern="1200"/>
            <a:t> </a:t>
          </a:r>
          <a:r>
            <a:rPr lang="nb-NO" sz="900" kern="1200" err="1"/>
            <a:t>aging</a:t>
          </a:r>
          <a:endParaRPr lang="nb-NO" sz="900" kern="1200"/>
        </a:p>
      </dsp:txBody>
      <dsp:txXfrm>
        <a:off x="1504713" y="3540161"/>
        <a:ext cx="759991" cy="368529"/>
      </dsp:txXfrm>
    </dsp:sp>
    <dsp:sp modelId="{9DAFE529-4B14-4842-B3C9-AAFAA70061A1}">
      <dsp:nvSpPr>
        <dsp:cNvPr id="0" name=""/>
        <dsp:cNvSpPr/>
      </dsp:nvSpPr>
      <dsp:spPr>
        <a:xfrm>
          <a:off x="2276171" y="3715801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2424926" y="3716596"/>
        <a:ext cx="15658" cy="15658"/>
      </dsp:txXfrm>
    </dsp:sp>
    <dsp:sp modelId="{29A171E6-D0F5-4470-87A3-7E26241F201D}">
      <dsp:nvSpPr>
        <dsp:cNvPr id="0" name=""/>
        <dsp:cNvSpPr/>
      </dsp:nvSpPr>
      <dsp:spPr>
        <a:xfrm>
          <a:off x="2589340" y="352869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900" kern="1200" err="1"/>
            <a:t>Exergaming</a:t>
          </a:r>
          <a:r>
            <a:rPr lang="nb-NO" sz="900" kern="1200"/>
            <a:t> EU FP7</a:t>
          </a:r>
        </a:p>
      </dsp:txBody>
      <dsp:txXfrm>
        <a:off x="2600806" y="3540161"/>
        <a:ext cx="759991" cy="36852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241AFA-FCEE-4A6D-A14B-247E170E9E6D}">
      <dsp:nvSpPr>
        <dsp:cNvPr id="0" name=""/>
        <dsp:cNvSpPr/>
      </dsp:nvSpPr>
      <dsp:spPr>
        <a:xfrm>
          <a:off x="3263199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Delprosjekt</a:t>
          </a:r>
        </a:p>
      </dsp:txBody>
      <dsp:txXfrm>
        <a:off x="3263199" y="0"/>
        <a:ext cx="1376350" cy="1225550"/>
      </dsp:txXfrm>
    </dsp:sp>
    <dsp:sp modelId="{0D6F98C8-D1DE-4457-98E2-40DDFABA23EA}">
      <dsp:nvSpPr>
        <dsp:cNvPr id="0" name=""/>
        <dsp:cNvSpPr/>
      </dsp:nvSpPr>
      <dsp:spPr>
        <a:xfrm>
          <a:off x="1657457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Spesifisering av finansieringskilde</a:t>
          </a:r>
        </a:p>
      </dsp:txBody>
      <dsp:txXfrm>
        <a:off x="1657457" y="0"/>
        <a:ext cx="1376350" cy="1225550"/>
      </dsp:txXfrm>
    </dsp:sp>
    <dsp:sp modelId="{D1EC4036-C7E1-44E0-AEA0-98FFB3FE7BB1}">
      <dsp:nvSpPr>
        <dsp:cNvPr id="0" name=""/>
        <dsp:cNvSpPr/>
      </dsp:nvSpPr>
      <dsp:spPr>
        <a:xfrm>
          <a:off x="51716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Finansieringskilde</a:t>
          </a:r>
        </a:p>
      </dsp:txBody>
      <dsp:txXfrm>
        <a:off x="51716" y="0"/>
        <a:ext cx="1376350" cy="1225550"/>
      </dsp:txXfrm>
    </dsp:sp>
    <dsp:sp modelId="{F91660F9-9DA9-4BCC-BFF0-439EB06AE054}">
      <dsp:nvSpPr>
        <dsp:cNvPr id="0" name=""/>
        <dsp:cNvSpPr/>
      </dsp:nvSpPr>
      <dsp:spPr>
        <a:xfrm>
          <a:off x="607" y="1679922"/>
          <a:ext cx="1435900" cy="14278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/>
            <a:t>EU</a:t>
          </a:r>
        </a:p>
      </dsp:txBody>
      <dsp:txXfrm>
        <a:off x="42427" y="1721742"/>
        <a:ext cx="1352260" cy="1344197"/>
      </dsp:txXfrm>
    </dsp:sp>
    <dsp:sp modelId="{C6498F3A-E144-4EA7-8583-38A843F262DC}">
      <dsp:nvSpPr>
        <dsp:cNvPr id="0" name=""/>
        <dsp:cNvSpPr/>
      </dsp:nvSpPr>
      <dsp:spPr>
        <a:xfrm rot="19996042">
          <a:off x="1414670" y="2289303"/>
          <a:ext cx="408613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408613" y="1263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1608762" y="2291722"/>
        <a:ext cx="20430" cy="20430"/>
      </dsp:txXfrm>
    </dsp:sp>
    <dsp:sp modelId="{9C373FCA-D79C-44D5-9300-9CFC761AA81C}">
      <dsp:nvSpPr>
        <dsp:cNvPr id="0" name=""/>
        <dsp:cNvSpPr/>
      </dsp:nvSpPr>
      <dsp:spPr>
        <a:xfrm>
          <a:off x="1801447" y="1704283"/>
          <a:ext cx="1146958" cy="101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/>
            <a:t>H2020</a:t>
          </a:r>
        </a:p>
      </dsp:txBody>
      <dsp:txXfrm>
        <a:off x="1831073" y="1733909"/>
        <a:ext cx="1087706" cy="952250"/>
      </dsp:txXfrm>
    </dsp:sp>
    <dsp:sp modelId="{2EFC976A-E189-42FD-A925-E7416E513E1E}">
      <dsp:nvSpPr>
        <dsp:cNvPr id="0" name=""/>
        <dsp:cNvSpPr/>
      </dsp:nvSpPr>
      <dsp:spPr>
        <a:xfrm rot="19930094">
          <a:off x="2915445" y="2064373"/>
          <a:ext cx="569859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569859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186128" y="2062761"/>
        <a:ext cx="28492" cy="28492"/>
      </dsp:txXfrm>
    </dsp:sp>
    <dsp:sp modelId="{1840529B-EB1A-49D8-A620-57054FC55365}">
      <dsp:nvSpPr>
        <dsp:cNvPr id="0" name=""/>
        <dsp:cNvSpPr/>
      </dsp:nvSpPr>
      <dsp:spPr>
        <a:xfrm>
          <a:off x="3452344" y="1657241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/>
            <a:t>PreventIT</a:t>
          </a:r>
        </a:p>
      </dsp:txBody>
      <dsp:txXfrm>
        <a:off x="3469141" y="1674038"/>
        <a:ext cx="1113364" cy="539885"/>
      </dsp:txXfrm>
    </dsp:sp>
    <dsp:sp modelId="{EA2AC298-4FCA-4294-BC88-19F8213F95AA}">
      <dsp:nvSpPr>
        <dsp:cNvPr id="0" name=""/>
        <dsp:cNvSpPr/>
      </dsp:nvSpPr>
      <dsp:spPr>
        <a:xfrm rot="2009278">
          <a:off x="2900500" y="2356632"/>
          <a:ext cx="577177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577177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174659" y="2354837"/>
        <a:ext cx="28858" cy="28858"/>
      </dsp:txXfrm>
    </dsp:sp>
    <dsp:sp modelId="{F8709A01-3DFB-4883-98F3-4DC7FD64DE07}">
      <dsp:nvSpPr>
        <dsp:cNvPr id="0" name=""/>
        <dsp:cNvSpPr/>
      </dsp:nvSpPr>
      <dsp:spPr>
        <a:xfrm>
          <a:off x="3429772" y="2241759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 err="1"/>
            <a:t>Mobilise</a:t>
          </a:r>
          <a:r>
            <a:rPr lang="nb-NO" sz="1800" kern="1200"/>
            <a:t>-D</a:t>
          </a:r>
        </a:p>
      </dsp:txBody>
      <dsp:txXfrm>
        <a:off x="3446569" y="2258556"/>
        <a:ext cx="1113364" cy="539885"/>
      </dsp:txXfrm>
    </dsp:sp>
    <dsp:sp modelId="{523A4C08-7080-4828-80F7-6A0F00AE1C7F}">
      <dsp:nvSpPr>
        <dsp:cNvPr id="0" name=""/>
        <dsp:cNvSpPr/>
      </dsp:nvSpPr>
      <dsp:spPr>
        <a:xfrm rot="3875089">
          <a:off x="1171289" y="2800864"/>
          <a:ext cx="929246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929246" y="1263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1612681" y="2790267"/>
        <a:ext cx="46462" cy="46462"/>
      </dsp:txXfrm>
    </dsp:sp>
    <dsp:sp modelId="{E85055A5-EC36-4AB2-8685-8F3F08926F97}">
      <dsp:nvSpPr>
        <dsp:cNvPr id="0" name=""/>
        <dsp:cNvSpPr/>
      </dsp:nvSpPr>
      <dsp:spPr>
        <a:xfrm>
          <a:off x="1835316" y="2946416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/>
            <a:t>FP7</a:t>
          </a:r>
        </a:p>
      </dsp:txBody>
      <dsp:txXfrm>
        <a:off x="1852113" y="2963213"/>
        <a:ext cx="1113364" cy="539885"/>
      </dsp:txXfrm>
    </dsp:sp>
    <dsp:sp modelId="{BEF23B3C-1E16-4B1B-900D-FF2089EAAEC7}">
      <dsp:nvSpPr>
        <dsp:cNvPr id="0" name=""/>
        <dsp:cNvSpPr/>
      </dsp:nvSpPr>
      <dsp:spPr>
        <a:xfrm rot="953398">
          <a:off x="2973610" y="3282609"/>
          <a:ext cx="453541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453541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b-NO" sz="500" kern="1200"/>
        </a:p>
      </dsp:txBody>
      <dsp:txXfrm>
        <a:off x="3189042" y="3283905"/>
        <a:ext cx="22677" cy="22677"/>
      </dsp:txXfrm>
    </dsp:sp>
    <dsp:sp modelId="{93093E33-AEF4-4E37-907D-24E4BFAA5E21}">
      <dsp:nvSpPr>
        <dsp:cNvPr id="0" name=""/>
        <dsp:cNvSpPr/>
      </dsp:nvSpPr>
      <dsp:spPr>
        <a:xfrm>
          <a:off x="3418486" y="3070592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800" kern="1200" err="1"/>
            <a:t>Exergaming</a:t>
          </a:r>
          <a:endParaRPr lang="nb-NO" sz="1800" kern="1200"/>
        </a:p>
      </dsp:txBody>
      <dsp:txXfrm>
        <a:off x="3435283" y="3087389"/>
        <a:ext cx="1113364" cy="5398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1B6C9F-1184-4053-9ECE-D6D473120E9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54A5B9-7047-4DFD-897A-60B88832EF4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5511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881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EEB24-63B3-46F6-88E9-0F390CC9DDA1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42745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3408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3542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378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923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396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096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9883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2387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938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4815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306F9-7485-49D4-A147-5CD5252E0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6B154F-A3B5-418C-9B67-8DA2DE7F1C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BA3F5-6334-4A9C-A3F4-1B90CFE6B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9C8B5D-21CE-4510-8C74-5B664F89D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7581E8-8230-4BC1-91F3-DE988C5F1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2493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DF40A-867E-49B4-A5BA-727ACD755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91E439-6E86-4C23-922A-8CD428CC9E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05574D-BDED-468C-B8B4-1DE7A2C27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8D710-B6DA-4BFB-B355-DB0072613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C2996C-4C4A-439B-B4A5-CB54765DD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4711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D1A5341-F5D6-4A55-BA9B-1060B503D1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B0BBEB-837F-4B09-8C97-F14C3E1BA2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2EB497-F765-4CCA-BDF4-3631777C2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D663A-6D40-4E81-B90A-B734FA7E7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A5249-909E-480F-B79D-C8456E7C4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6963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53494" y="6451038"/>
            <a:ext cx="456108" cy="252103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1" i="0" smtClean="0">
                <a:solidFill>
                  <a:schemeClr val="bg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1" i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DDF0375-0873-B843-9EC0-A06479A80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039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DE8648CE-2671-CD47-B4B1-0ED8BB680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3918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639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84722-5145-4696-8430-10D0839ED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B0FD5-0020-4CD1-9B24-48DD7D7923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C043AC-C9C0-472E-83CD-2B4F874BD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D5C5E-CF2F-4BD7-B71C-BDBD39320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A1205-7A80-4AAC-85BF-3250CE51A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138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79B4B-D35B-46CB-A43B-7C4A021A6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91196-57A7-4C9B-9D78-7BAEDD5DE5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50F25-85EC-48C9-874E-C297A42C5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7BA45-3089-4598-B06D-3C60F3ADA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67B4C-71A6-466D-84E5-E96CFF6E0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3992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72DFB-AADB-467E-B1BE-62ECF11AE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7A2A4F-86D9-426F-806E-0FC72580C8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B8CDF7-8980-4245-BFBD-9CCBFD0E1B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B4CE9F-6C2C-4C68-8CAE-0337A7BE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DCF047-FB65-46C5-90C8-170774095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3EF15-558A-4867-AA98-BEBD3264D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9940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DF23D-83A7-4976-A26A-EEEFE6971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0FC40-E0B0-41E6-A3D6-04065C917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F8639F-9BDB-445B-AF94-302F26D20B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D25B35-7F7F-46A8-95C4-076C0092A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8A205B-25E6-4AE6-9B89-95E202FB62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0ADD52-7D2E-42AA-9C0B-408A9FED4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19F519-5DF0-4F32-8D95-9880FD5E7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1E929D-F830-4642-B3AF-9FEC9CD0E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128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EB706-41FC-4AB5-85F0-C35CC78F9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74304D-F877-4F85-968C-DCA0CAA2C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C0A732-059D-459F-9083-009C34874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7E9D9-0611-4469-834E-E26CECA17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3985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9D393B-5AE9-4413-B042-C2C3FAD6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EC0C0-F3A8-4BB3-B0D9-40AB69D6C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62198-F66C-4EB6-9A1A-6F642FF3B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2776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B6648-4B01-4D40-BF44-F8D6DDB39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B53CE-916B-47D5-90ED-CFD3F9199E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F5E32D-AFE8-4541-9789-E146C7F3B6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5BE281-D682-4BDB-AF4F-AA8C4BCED8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654C14-6028-4F49-8875-D885F7708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010273-0062-41FD-BCF7-AA31F5C75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9799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C18BE-7CA5-4445-ACB9-3DD9BDC2D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F91BFE-49C5-4792-A43C-B4101F09CB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0687DE-1418-4061-823A-0925C33B81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33F9C7-4C36-46C0-8A24-F644C6ECA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47F62E-4F1A-4710-BCAA-17C0DBDBE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ED3C15-9999-4C6D-A23B-0C1064F9B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969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8BECBF-6F4D-4780-A8A2-8A1F5A677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7132D-CBDC-43B1-8B20-A5C4A3DC92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7F7DA7-8B99-4C0B-AFDF-40CC676E20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B27D92-3305-43D0-A1BB-54F33722EBD0}" type="datetimeFigureOut">
              <a:rPr lang="nb-NO" smtClean="0"/>
              <a:t>28.06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21B0C-81B7-4E02-A1A4-D8ED7825B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6CAC-D40A-4A2E-9837-D29A6B3AE0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379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padlet.com/annetteyludvigsen/x33m0zmgx9jg0qsv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image" Target="../media/image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padlet.com/annetteyludvigsen/khjk6fdgtav0xos4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https://padlet.com/annetteyludvigsen/4muuowceneex3s2f" TargetMode="Externa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AD8A63-2146-4574-8DC1-FA6C557EA0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14943" b="3239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19" name="Rectangle 72">
            <a:extLst>
              <a:ext uri="{FF2B5EF4-FFF2-40B4-BE49-F238E27FC236}">
                <a16:creationId xmlns:a16="http://schemas.microsoft.com/office/drawing/2014/main" id="{D38A241E-0395-41E5-8607-BAA2799A437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-1" y="4892040"/>
            <a:ext cx="12191999" cy="1965960"/>
          </a:xfrm>
          <a:prstGeom prst="rect">
            <a:avLst/>
          </a:prstGeom>
          <a:solidFill>
            <a:schemeClr val="bg1">
              <a:alpha val="7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0" name="Straight Connector 74">
            <a:extLst>
              <a:ext uri="{FF2B5EF4-FFF2-40B4-BE49-F238E27FC236}">
                <a16:creationId xmlns:a16="http://schemas.microsoft.com/office/drawing/2014/main" id="{CE352288-84AD-4CA8-BCD5-76C29D34E1D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138160" y="5325066"/>
            <a:ext cx="0" cy="9144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F731FB9-408E-47F0-960E-C83C479D4E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103498" y="-230515"/>
            <a:ext cx="1985007" cy="121920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896ED6-4AAF-43F7-85C6-1416EF434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4956" y="5151330"/>
            <a:ext cx="6973204" cy="1261872"/>
          </a:xfrm>
        </p:spPr>
        <p:txBody>
          <a:bodyPr anchor="ctr">
            <a:normAutofit/>
          </a:bodyPr>
          <a:lstStyle/>
          <a:p>
            <a:pPr algn="l"/>
            <a:r>
              <a:rPr lang="nb-NO" sz="4100">
                <a:solidFill>
                  <a:schemeClr val="tx1">
                    <a:lumMod val="85000"/>
                    <a:lumOff val="15000"/>
                  </a:schemeClr>
                </a:solidFill>
              </a:rPr>
              <a:t>Innføring i BOTT økonomimodell</a:t>
            </a:r>
            <a:br>
              <a:rPr lang="nb-NO" sz="410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nb-NO" sz="2800">
                <a:solidFill>
                  <a:schemeClr val="tx1">
                    <a:lumMod val="85000"/>
                    <a:lumOff val="15000"/>
                  </a:schemeClr>
                </a:solidFill>
              </a:rPr>
              <a:t>Basiskurs 1</a:t>
            </a:r>
            <a:endParaRPr lang="nb-NO" sz="41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628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id="{DFF43A22-6938-4821-8B1C-287CC6A26B6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780056" y="2664550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09168" y="3745410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-42609" y="3749133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0" y="2512410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40490" y="2660445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6694196" y="264523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39206" y="264523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13603" y="2607772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886327" y="263160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465034" y="2625401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5126801" y="196918"/>
            <a:ext cx="7011421" cy="772800"/>
          </a:xfrm>
        </p:spPr>
        <p:txBody>
          <a:bodyPr>
            <a:noAutofit/>
          </a:bodyPr>
          <a:lstStyle/>
          <a:p>
            <a:pPr algn="ctr"/>
            <a:r>
              <a:rPr lang="nb-NO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nto og koststed</a:t>
            </a:r>
          </a:p>
        </p:txBody>
      </p: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14346" y="2664550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19178" y="2652038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9033116" y="264523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8957943" y="2362752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059616" y="2814829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10641236" y="2620625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rbeidspakke (BOA)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0" y="2362752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099661B-403D-41E6-8E66-630241525B46}"/>
              </a:ext>
            </a:extLst>
          </p:cNvPr>
          <p:cNvSpPr txBox="1"/>
          <p:nvPr/>
        </p:nvSpPr>
        <p:spPr>
          <a:xfrm>
            <a:off x="99202" y="4022409"/>
            <a:ext cx="1679970" cy="197393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Felles</a:t>
            </a:r>
            <a:r>
              <a:rPr lang="nb-NO" sz="1400" b="1"/>
              <a:t> </a:t>
            </a:r>
            <a:r>
              <a:rPr lang="nb-NO" sz="1400"/>
              <a:t>gruppering av kostnader og inntekter. Felles for NTNU. </a:t>
            </a:r>
          </a:p>
          <a:p>
            <a:r>
              <a:rPr lang="nb-NO" sz="1400"/>
              <a:t>Tilsvarende som i dag, men med ulike siffe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E0D7555-3359-411A-9000-F83D4F2566E5}"/>
              </a:ext>
            </a:extLst>
          </p:cNvPr>
          <p:cNvSpPr txBox="1"/>
          <p:nvPr/>
        </p:nvSpPr>
        <p:spPr>
          <a:xfrm>
            <a:off x="1899006" y="4028527"/>
            <a:ext cx="1679969" cy="153233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Koststed skal klassifiseres som leiested, kjernefasilitet eller annet. </a:t>
            </a:r>
            <a:endParaRPr lang="nb-NO" sz="1400" b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6B571A7-BB74-4978-B622-9929F28434F3}"/>
              </a:ext>
            </a:extLst>
          </p:cNvPr>
          <p:cNvSpPr txBox="1"/>
          <p:nvPr/>
        </p:nvSpPr>
        <p:spPr>
          <a:xfrm>
            <a:off x="1779172" y="583318"/>
            <a:ext cx="1750202" cy="17706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Koststed skal klassifiseres med </a:t>
            </a:r>
            <a:r>
              <a:rPr lang="nb-NO" sz="1400" err="1"/>
              <a:t>studieby</a:t>
            </a:r>
            <a:r>
              <a:rPr lang="nb-NO" sz="1400"/>
              <a:t>, hvis koststedet kun benyttes i en av byene</a:t>
            </a:r>
            <a:endParaRPr lang="nb-NO" sz="1400" b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064FA21-9777-4B1E-963F-7E919EA7FB2F}"/>
              </a:ext>
            </a:extLst>
          </p:cNvPr>
          <p:cNvSpPr txBox="1"/>
          <p:nvPr/>
        </p:nvSpPr>
        <p:spPr>
          <a:xfrm>
            <a:off x="95029" y="6069355"/>
            <a:ext cx="1679970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tus: </a:t>
            </a:r>
            <a:r>
              <a:rPr lang="nb-NO" sz="1400"/>
              <a:t>Gjøres av FA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606769D-AA6B-494A-A360-9E7627D6CAEE}"/>
              </a:ext>
            </a:extLst>
          </p:cNvPr>
          <p:cNvSpPr txBox="1"/>
          <p:nvPr/>
        </p:nvSpPr>
        <p:spPr>
          <a:xfrm>
            <a:off x="1849406" y="6069355"/>
            <a:ext cx="1679968" cy="5788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tus: </a:t>
            </a:r>
            <a:r>
              <a:rPr lang="nb-NO" sz="1400"/>
              <a:t>Allerede sendt inn til DFØ</a:t>
            </a:r>
          </a:p>
        </p:txBody>
      </p:sp>
    </p:spTree>
    <p:extLst>
      <p:ext uri="{BB962C8B-B14F-4D97-AF65-F5344CB8AC3E}">
        <p14:creationId xmlns:p14="http://schemas.microsoft.com/office/powerpoint/2010/main" val="3564371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7" grpId="0" animBg="1"/>
      <p:bldP spid="58" grpId="0" animBg="1"/>
      <p:bldP spid="6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2FD9DD-E09D-4A7F-B5A8-E3B6C4DCB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rosjektstruktur BF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A9D0E-D8CD-4ADB-AE1E-26621D57C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kor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intro, med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kus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på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hvorda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nytte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ruktur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for BFV i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økonomistyringen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260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E35B42-93BA-4A6D-8A49-EA308A21F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Noen prinsip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34DC0F-E05D-4CD5-A913-1046B2D2E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1068" y="841247"/>
            <a:ext cx="6877878" cy="5120640"/>
          </a:xfrm>
        </p:spPr>
        <p:txBody>
          <a:bodyPr anchor="ctr">
            <a:normAutofit/>
          </a:bodyPr>
          <a:lstStyle/>
          <a:p>
            <a:r>
              <a:rPr lang="nb-NO" sz="1800">
                <a:solidFill>
                  <a:schemeClr val="tx2"/>
                </a:solidFill>
              </a:rPr>
              <a:t>Fristilt koststed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Bruker prosjektnummer på tvers</a:t>
            </a:r>
          </a:p>
          <a:p>
            <a:r>
              <a:rPr lang="nb-NO" sz="1800">
                <a:solidFill>
                  <a:schemeClr val="tx2"/>
                </a:solidFill>
              </a:rPr>
              <a:t>Kategorisering av prosjekter for Aktivitetstype og Aktivitet er ment for å dekke varige behov. 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Vesentlige behov av mer midlertidig karakter må dekkes gjennom prosjektstrukturen</a:t>
            </a:r>
          </a:p>
          <a:p>
            <a:r>
              <a:rPr lang="nb-NO" sz="1800">
                <a:solidFill>
                  <a:schemeClr val="tx2"/>
                </a:solidFill>
              </a:rPr>
              <a:t>Delprosjekt må benyttes, men Prosjekt som gruppering av delprosjekt benyttes kun ved særskilte behov</a:t>
            </a:r>
          </a:p>
          <a:p>
            <a:pPr marL="0" indent="0">
              <a:buNone/>
            </a:pPr>
            <a:endParaRPr lang="nb-NO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27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7619F7A-BCB1-4DDF-97DC-BCF55D59F1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3F1983A-5396-48FC-8684-4E4A78257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9162" y="1277967"/>
            <a:ext cx="5378300" cy="1595995"/>
          </a:xfrm>
          <a:ln>
            <a:solidFill>
              <a:srgbClr val="33CCCC"/>
            </a:solidFill>
          </a:ln>
        </p:spPr>
        <p:txBody>
          <a:bodyPr>
            <a:normAutofit/>
          </a:bodyPr>
          <a:lstStyle/>
          <a:p>
            <a:r>
              <a:rPr lang="nb-NO" sz="1800"/>
              <a:t>En felles modell/struktur, inkludert noen frihetsgrader. </a:t>
            </a:r>
          </a:p>
          <a:p>
            <a:r>
              <a:rPr lang="nb-NO" sz="1800"/>
              <a:t>Alle enheter må selv vurdere hva som er den beste organiseringen av sin økonomi for å styre på best mulig måte. 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0D49BCF-44B5-42C1-BE21-FD7E2F9C70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288055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E5AAA1B-3C0C-475C-BE1B-71F2A7038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924" y="120925"/>
            <a:ext cx="6181051" cy="703912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struktur for BFV</a:t>
            </a:r>
          </a:p>
        </p:txBody>
      </p:sp>
      <p:graphicFrame>
        <p:nvGraphicFramePr>
          <p:cNvPr id="6" name="Plassholder for innhold 3">
            <a:extLst>
              <a:ext uri="{FF2B5EF4-FFF2-40B4-BE49-F238E27FC236}">
                <a16:creationId xmlns:a16="http://schemas.microsoft.com/office/drawing/2014/main" id="{4021FD2F-B5D7-40F2-A9DF-2F88800C0B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1313098"/>
              </p:ext>
            </p:extLst>
          </p:nvPr>
        </p:nvGraphicFramePr>
        <p:xfrm>
          <a:off x="4517971" y="3143250"/>
          <a:ext cx="6873930" cy="3593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B106132-ABA8-4232-B8AD-F0B37B533BFE}"/>
              </a:ext>
            </a:extLst>
          </p:cNvPr>
          <p:cNvSpPr/>
          <p:nvPr/>
        </p:nvSpPr>
        <p:spPr>
          <a:xfrm>
            <a:off x="1469203" y="5845996"/>
            <a:ext cx="832208" cy="10120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22B78E-41E2-4B44-BC06-AE2D5A3D770D}"/>
              </a:ext>
            </a:extLst>
          </p:cNvPr>
          <p:cNvSpPr/>
          <p:nvPr/>
        </p:nvSpPr>
        <p:spPr>
          <a:xfrm>
            <a:off x="1231185" y="3830549"/>
            <a:ext cx="1070226" cy="217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9498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93C59631-1A92-4AC1-B950-5D136C92D4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3522"/>
          <a:stretch/>
        </p:blipFill>
        <p:spPr>
          <a:xfrm rot="5400000">
            <a:off x="3217068" y="-3229085"/>
            <a:ext cx="1028701" cy="7462838"/>
          </a:xfrm>
          <a:prstGeom prst="rect">
            <a:avLst/>
          </a:prstGeom>
        </p:spPr>
      </p:pic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0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8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0" y="388875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finansieringskilde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8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89" y="248812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58333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struktur BFV</a:t>
            </a:r>
            <a:endParaRPr lang="nb-NO" b="1">
              <a:solidFill>
                <a:schemeClr val="bg1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1" y="5267040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0" y="6097724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1" y="4167754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89" y="2767130"/>
            <a:ext cx="2" cy="2499911"/>
          </a:xfrm>
          <a:prstGeom prst="bentConnector3">
            <a:avLst>
              <a:gd name="adj1" fmla="val 1143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cxnSpLocks/>
            <a:stCxn id="14" idx="1"/>
            <a:endCxn id="114" idx="1"/>
          </p:cNvCxnSpPr>
          <p:nvPr/>
        </p:nvCxnSpPr>
        <p:spPr>
          <a:xfrm rot="10800000" flipH="1">
            <a:off x="6742390" y="3457956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cxnSpLocks/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cxnSpLocks/>
            <a:stCxn id="118" idx="1"/>
            <a:endCxn id="126" idx="1"/>
          </p:cNvCxnSpPr>
          <p:nvPr/>
        </p:nvCxnSpPr>
        <p:spPr>
          <a:xfrm rot="10800000">
            <a:off x="4828251" y="2734078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ktangel 95">
            <a:extLst>
              <a:ext uri="{FF2B5EF4-FFF2-40B4-BE49-F238E27FC236}">
                <a16:creationId xmlns:a16="http://schemas.microsoft.com/office/drawing/2014/main" id="{EEDBDD10-71D4-469B-8C72-DD7801548819}"/>
              </a:ext>
            </a:extLst>
          </p:cNvPr>
          <p:cNvSpPr/>
          <p:nvPr/>
        </p:nvSpPr>
        <p:spPr>
          <a:xfrm>
            <a:off x="908131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e</a:t>
            </a:r>
          </a:p>
        </p:txBody>
      </p:sp>
      <p:sp>
        <p:nvSpPr>
          <p:cNvPr id="43" name="Multiplikasjonstegn 38">
            <a:extLst>
              <a:ext uri="{FF2B5EF4-FFF2-40B4-BE49-F238E27FC236}">
                <a16:creationId xmlns:a16="http://schemas.microsoft.com/office/drawing/2014/main" id="{818B01E0-FA83-450E-8E2E-530DE645C1E0}"/>
              </a:ext>
            </a:extLst>
          </p:cNvPr>
          <p:cNvSpPr/>
          <p:nvPr/>
        </p:nvSpPr>
        <p:spPr>
          <a:xfrm>
            <a:off x="9006137" y="4518929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CE6917A-F125-4F92-846A-03C6AF4D0FCB}"/>
              </a:ext>
            </a:extLst>
          </p:cNvPr>
          <p:cNvSpPr/>
          <p:nvPr/>
        </p:nvSpPr>
        <p:spPr>
          <a:xfrm>
            <a:off x="4828250" y="1040524"/>
            <a:ext cx="3339890" cy="5817461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0599DE-39D5-4FCE-86C9-5BE1B33061CA}"/>
              </a:ext>
            </a:extLst>
          </p:cNvPr>
          <p:cNvSpPr txBox="1"/>
          <p:nvPr/>
        </p:nvSpPr>
        <p:spPr>
          <a:xfrm>
            <a:off x="9010137" y="434497"/>
            <a:ext cx="2445945" cy="27003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Inndelingen i Aktivitetstype og Aktivitet er ment å dekke varige behov enhetene i hovedsak har for å følge opp aktiviteten innenfor sin bevilgningsøkonomi. </a:t>
            </a:r>
          </a:p>
          <a:p>
            <a:r>
              <a:rPr lang="nb-NO" sz="1400"/>
              <a:t>Vesentlige behov av mer </a:t>
            </a:r>
            <a:r>
              <a:rPr lang="nb-NO" sz="1400" u="sng"/>
              <a:t>midlertidig</a:t>
            </a:r>
            <a:r>
              <a:rPr lang="nb-NO" sz="1400"/>
              <a:t> karakter må dekkes gjennom prosjektstrukturen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230AB8-25D6-450D-8BD8-B0E161407186}"/>
              </a:ext>
            </a:extLst>
          </p:cNvPr>
          <p:cNvSpPr txBox="1"/>
          <p:nvPr/>
        </p:nvSpPr>
        <p:spPr>
          <a:xfrm>
            <a:off x="188685" y="1306631"/>
            <a:ext cx="2738128" cy="248578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Prosjekt og hovedprosjekt benyttes kun ved særskilte behov for gruppering av delprosjekter. </a:t>
            </a:r>
          </a:p>
          <a:p>
            <a:endParaRPr lang="nb-NO" sz="1400"/>
          </a:p>
          <a:p>
            <a:r>
              <a:rPr lang="nb-NO" sz="1400"/>
              <a:t>Hierarki i prosjektstrukturen i tillegg vil øke kompleksiteten, og innføring av gruppering også i prosjekt bør derfor veies opp mot ulempene.</a:t>
            </a:r>
            <a:r>
              <a:rPr lang="nb-NO" sz="1400" b="1"/>
              <a:t> </a:t>
            </a:r>
            <a:endParaRPr lang="nb-NO" sz="1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7C2D278-ED52-4485-AC24-F20D6CE20EB9}"/>
              </a:ext>
            </a:extLst>
          </p:cNvPr>
          <p:cNvSpPr txBox="1"/>
          <p:nvPr/>
        </p:nvSpPr>
        <p:spPr>
          <a:xfrm>
            <a:off x="9010137" y="3201248"/>
            <a:ext cx="2445945" cy="578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Delprosjekt må benytte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AD2EC23-E8C1-4F8C-B2A0-B62B80F47A3B}"/>
              </a:ext>
            </a:extLst>
          </p:cNvPr>
          <p:cNvSpPr/>
          <p:nvPr/>
        </p:nvSpPr>
        <p:spPr>
          <a:xfrm>
            <a:off x="6599489" y="1409676"/>
            <a:ext cx="1729663" cy="1802972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D5AAC8A-20E7-4B09-A4D5-FAE70CC5990D}"/>
              </a:ext>
            </a:extLst>
          </p:cNvPr>
          <p:cNvSpPr/>
          <p:nvPr/>
        </p:nvSpPr>
        <p:spPr>
          <a:xfrm>
            <a:off x="6545674" y="4557966"/>
            <a:ext cx="1729663" cy="1385180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83DF5CFC-DEB5-4D28-8ED6-BC8B24F8864F}"/>
              </a:ext>
            </a:extLst>
          </p:cNvPr>
          <p:cNvSpPr/>
          <p:nvPr/>
        </p:nvSpPr>
        <p:spPr>
          <a:xfrm>
            <a:off x="4612193" y="3792418"/>
            <a:ext cx="1905841" cy="2170243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6189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" grpId="0" animBg="1"/>
      <p:bldP spid="36" grpId="0" animBg="1"/>
      <p:bldP spid="37" grpId="0" animBg="1"/>
      <p:bldP spid="41" grpId="0" animBg="1"/>
      <p:bldP spid="41" grpId="1" animBg="1"/>
      <p:bldP spid="44" grpId="0" animBg="1"/>
      <p:bldP spid="44" grpId="1" animBg="1"/>
      <p:bldP spid="4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0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8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399" y="48014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1" y="478777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0" y="388875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finansieringskilde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8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0" y="242173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2" y="4808214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1" y="5267040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0" y="6097724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1" y="4167754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91" y="2700740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cxnSpLocks/>
            <a:stCxn id="14" idx="1"/>
            <a:endCxn id="114" idx="1"/>
          </p:cNvCxnSpPr>
          <p:nvPr/>
        </p:nvCxnSpPr>
        <p:spPr>
          <a:xfrm rot="10800000" flipH="1">
            <a:off x="6742390" y="3457956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cxnSpLocks/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cxnSpLocks/>
            <a:stCxn id="118" idx="1"/>
            <a:endCxn id="126" idx="1"/>
          </p:cNvCxnSpPr>
          <p:nvPr/>
        </p:nvCxnSpPr>
        <p:spPr>
          <a:xfrm rot="10800000">
            <a:off x="4828251" y="2734078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Bilde 3">
            <a:extLst>
              <a:ext uri="{FF2B5EF4-FFF2-40B4-BE49-F238E27FC236}">
                <a16:creationId xmlns:a16="http://schemas.microsoft.com/office/drawing/2014/main" id="{5C1EF5F4-6DC3-45A4-A8E4-5D80F5B41EA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8685" y="1323718"/>
            <a:ext cx="3569750" cy="3070313"/>
          </a:xfrm>
          <a:prstGeom prst="rect">
            <a:avLst/>
          </a:prstGeom>
        </p:spPr>
      </p:pic>
      <p:sp>
        <p:nvSpPr>
          <p:cNvPr id="15" name="Pil: venstre 14">
            <a:extLst>
              <a:ext uri="{FF2B5EF4-FFF2-40B4-BE49-F238E27FC236}">
                <a16:creationId xmlns:a16="http://schemas.microsoft.com/office/drawing/2014/main" id="{D2E9D8B7-1553-4528-835C-2A62F3512EF2}"/>
              </a:ext>
            </a:extLst>
          </p:cNvPr>
          <p:cNvSpPr/>
          <p:nvPr/>
        </p:nvSpPr>
        <p:spPr>
          <a:xfrm rot="20615505" flipV="1">
            <a:off x="1640385" y="2501871"/>
            <a:ext cx="5222764" cy="96688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Pil: venstre 44">
            <a:extLst>
              <a:ext uri="{FF2B5EF4-FFF2-40B4-BE49-F238E27FC236}">
                <a16:creationId xmlns:a16="http://schemas.microsoft.com/office/drawing/2014/main" id="{CFA66FF9-F1A3-48C0-9215-7452062392E5}"/>
              </a:ext>
            </a:extLst>
          </p:cNvPr>
          <p:cNvSpPr/>
          <p:nvPr/>
        </p:nvSpPr>
        <p:spPr>
          <a:xfrm rot="20838102" flipV="1">
            <a:off x="2744631" y="2905227"/>
            <a:ext cx="4087685" cy="102707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5236943-0C67-4566-A1E9-4FF549AA566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23522"/>
          <a:stretch/>
        </p:blipFill>
        <p:spPr>
          <a:xfrm rot="5400000">
            <a:off x="3188532" y="-3219624"/>
            <a:ext cx="1028701" cy="7462838"/>
          </a:xfrm>
          <a:prstGeom prst="rect">
            <a:avLst/>
          </a:prstGeom>
        </p:spPr>
      </p:pic>
      <p:sp>
        <p:nvSpPr>
          <p:cNvPr id="42" name="Tittel 1">
            <a:extLst>
              <a:ext uri="{FF2B5EF4-FFF2-40B4-BE49-F238E27FC236}">
                <a16:creationId xmlns:a16="http://schemas.microsoft.com/office/drawing/2014/main" id="{710B1C46-74C9-4579-83EC-9BF23993DF08}"/>
              </a:ext>
            </a:extLst>
          </p:cNvPr>
          <p:cNvSpPr txBox="1">
            <a:spLocks/>
          </p:cNvSpPr>
          <p:nvPr/>
        </p:nvSpPr>
        <p:spPr>
          <a:xfrm>
            <a:off x="19659" y="130242"/>
            <a:ext cx="5833316" cy="772800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Prosjektstruktur BFV</a:t>
            </a:r>
            <a:endParaRPr lang="nb-NO" b="1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A53531A-43F2-4DC5-A2E6-F3DCB23EA9D5}"/>
              </a:ext>
            </a:extLst>
          </p:cNvPr>
          <p:cNvSpPr txBox="1"/>
          <p:nvPr/>
        </p:nvSpPr>
        <p:spPr>
          <a:xfrm>
            <a:off x="535361" y="977418"/>
            <a:ext cx="3180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>
                <a:solidFill>
                  <a:srgbClr val="9E0000"/>
                </a:solidFill>
              </a:rPr>
              <a:t>Eksempel fra BEVISST innsikt: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CD80E80A-21A6-4BBE-A8AA-5D3DCF516EBA}"/>
              </a:ext>
            </a:extLst>
          </p:cNvPr>
          <p:cNvSpPr/>
          <p:nvPr/>
        </p:nvSpPr>
        <p:spPr>
          <a:xfrm>
            <a:off x="77222" y="952687"/>
            <a:ext cx="3792676" cy="3632254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3AA391-7232-421B-B0B6-B313738743E1}"/>
              </a:ext>
            </a:extLst>
          </p:cNvPr>
          <p:cNvSpPr txBox="1"/>
          <p:nvPr/>
        </p:nvSpPr>
        <p:spPr>
          <a:xfrm>
            <a:off x="8978698" y="130242"/>
            <a:ext cx="2445945" cy="27003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Inndelingen i Aktivitetstype og Aktivitet er ment å dekke varige behov enhetene i hovedsak har for å følge opp aktiviteten innenfor sin bevilgningsøkonomi. </a:t>
            </a:r>
          </a:p>
          <a:p>
            <a:r>
              <a:rPr lang="nb-NO" sz="1400"/>
              <a:t>Vesentlige behov av mer </a:t>
            </a:r>
            <a:r>
              <a:rPr lang="nb-NO" sz="1400" u="sng"/>
              <a:t>midlertidig</a:t>
            </a:r>
            <a:r>
              <a:rPr lang="nb-NO" sz="1400"/>
              <a:t> karakter må dekkes gjennom prosjektstrukturen.</a:t>
            </a:r>
          </a:p>
        </p:txBody>
      </p:sp>
    </p:spTree>
    <p:extLst>
      <p:ext uri="{BB962C8B-B14F-4D97-AF65-F5344CB8AC3E}">
        <p14:creationId xmlns:p14="http://schemas.microsoft.com/office/powerpoint/2010/main" val="1319397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45" grpId="0" animBg="1"/>
      <p:bldP spid="6" grpId="0"/>
      <p:bldP spid="9" grpId="0" animBg="1"/>
      <p:bldP spid="4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7BCA86E-7DF4-4028-92A4-11E593C6A574}"/>
              </a:ext>
            </a:extLst>
          </p:cNvPr>
          <p:cNvSpPr/>
          <p:nvPr/>
        </p:nvSpPr>
        <p:spPr>
          <a:xfrm>
            <a:off x="8835929" y="0"/>
            <a:ext cx="3346545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5CA5A2A1-11FE-4B34-820A-589A60792D44}"/>
              </a:ext>
            </a:extLst>
          </p:cNvPr>
          <p:cNvSpPr/>
          <p:nvPr/>
        </p:nvSpPr>
        <p:spPr>
          <a:xfrm>
            <a:off x="4546380" y="0"/>
            <a:ext cx="4216620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A7AC2C23-C3F2-458D-B933-0D008B031162}"/>
              </a:ext>
            </a:extLst>
          </p:cNvPr>
          <p:cNvSpPr/>
          <p:nvPr/>
        </p:nvSpPr>
        <p:spPr>
          <a:xfrm>
            <a:off x="1704180" y="1"/>
            <a:ext cx="2769270" cy="671512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3" name="Rectangle: Rounded Corners 502">
            <a:extLst>
              <a:ext uri="{FF2B5EF4-FFF2-40B4-BE49-F238E27FC236}">
                <a16:creationId xmlns:a16="http://schemas.microsoft.com/office/drawing/2014/main" id="{CEEB8AB5-A668-4F96-8EE1-C567695DF2E4}"/>
              </a:ext>
            </a:extLst>
          </p:cNvPr>
          <p:cNvSpPr/>
          <p:nvPr/>
        </p:nvSpPr>
        <p:spPr>
          <a:xfrm>
            <a:off x="48347" y="15530"/>
            <a:ext cx="1562100" cy="66995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48154" y="3009740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1637071"/>
            <a:ext cx="1696058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Strategisk aktivitet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13478" y="1994616"/>
            <a:ext cx="728542" cy="12194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5418776" y="458159"/>
            <a:ext cx="271873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Rekrutteringsstill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5418776" y="79740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trategiske investeringer i infrastruktu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5418776" y="1114034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- og formidlingstiltak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5418776" y="1446673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tiltak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5418777" y="1784816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novasjon og nyskaping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5418777" y="2124058"/>
            <a:ext cx="2718735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Øremerket faggrupper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5418777" y="244069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strategiske tiltak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5416576" y="383343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drift individuelle midler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5418774" y="447593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drift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5416576" y="4794733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vestering infrastruktur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5416576" y="5103830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Generell infrastrukturdrift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5416576" y="540913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dministrativ drift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5416576" y="414471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- og formidlingsdrift</a:t>
            </a:r>
          </a:p>
        </p:txBody>
      </p: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602880"/>
            <a:ext cx="1480698" cy="139173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  <a:stCxn id="13" idx="3"/>
            <a:endCxn id="380" idx="1"/>
          </p:cNvCxnSpPr>
          <p:nvPr/>
        </p:nvCxnSpPr>
        <p:spPr>
          <a:xfrm flipV="1">
            <a:off x="3938078" y="1258755"/>
            <a:ext cx="1480698" cy="73586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 flipV="1">
            <a:off x="3938078" y="942122"/>
            <a:ext cx="1480698" cy="105249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  <a:stCxn id="13" idx="3"/>
            <a:endCxn id="381" idx="1"/>
          </p:cNvCxnSpPr>
          <p:nvPr/>
        </p:nvCxnSpPr>
        <p:spPr>
          <a:xfrm flipV="1">
            <a:off x="3938078" y="1591394"/>
            <a:ext cx="1480698" cy="40322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13" idx="3"/>
            <a:endCxn id="382" idx="1"/>
          </p:cNvCxnSpPr>
          <p:nvPr/>
        </p:nvCxnSpPr>
        <p:spPr>
          <a:xfrm flipV="1">
            <a:off x="3938078" y="1929537"/>
            <a:ext cx="1480699" cy="650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13" idx="3"/>
            <a:endCxn id="383" idx="1"/>
          </p:cNvCxnSpPr>
          <p:nvPr/>
        </p:nvCxnSpPr>
        <p:spPr>
          <a:xfrm>
            <a:off x="3938078" y="1994616"/>
            <a:ext cx="1480699" cy="27416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13" idx="3"/>
            <a:endCxn id="384" idx="1"/>
          </p:cNvCxnSpPr>
          <p:nvPr/>
        </p:nvCxnSpPr>
        <p:spPr>
          <a:xfrm>
            <a:off x="3938078" y="1994616"/>
            <a:ext cx="1480699" cy="5907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562" idx="3"/>
            <a:endCxn id="391" idx="1"/>
          </p:cNvCxnSpPr>
          <p:nvPr/>
        </p:nvCxnSpPr>
        <p:spPr>
          <a:xfrm flipV="1">
            <a:off x="3929795" y="3978158"/>
            <a:ext cx="1486781" cy="152955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562" idx="3"/>
            <a:endCxn id="400" idx="1"/>
          </p:cNvCxnSpPr>
          <p:nvPr/>
        </p:nvCxnSpPr>
        <p:spPr>
          <a:xfrm flipV="1">
            <a:off x="3929795" y="4289432"/>
            <a:ext cx="1486781" cy="121827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562" idx="3"/>
            <a:endCxn id="392" idx="1"/>
          </p:cNvCxnSpPr>
          <p:nvPr/>
        </p:nvCxnSpPr>
        <p:spPr>
          <a:xfrm flipV="1">
            <a:off x="3929795" y="4620655"/>
            <a:ext cx="1488979" cy="88705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562" idx="3"/>
            <a:endCxn id="393" idx="1"/>
          </p:cNvCxnSpPr>
          <p:nvPr/>
        </p:nvCxnSpPr>
        <p:spPr>
          <a:xfrm flipV="1">
            <a:off x="3929795" y="4939454"/>
            <a:ext cx="1486781" cy="56825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562" idx="3"/>
            <a:endCxn id="394" idx="1"/>
          </p:cNvCxnSpPr>
          <p:nvPr/>
        </p:nvCxnSpPr>
        <p:spPr>
          <a:xfrm flipV="1">
            <a:off x="3929795" y="5248551"/>
            <a:ext cx="1486781" cy="25915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562" idx="3"/>
            <a:endCxn id="395" idx="1"/>
          </p:cNvCxnSpPr>
          <p:nvPr/>
        </p:nvCxnSpPr>
        <p:spPr>
          <a:xfrm>
            <a:off x="3929795" y="5507710"/>
            <a:ext cx="1486781" cy="4614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5416576" y="574296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entrale insentivmidler EU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5416576" y="6071584"/>
            <a:ext cx="2837348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e driftsaktiviteter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35935" y="5150165"/>
            <a:ext cx="1693860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Driftsaktivitet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13478" y="3214052"/>
            <a:ext cx="722457" cy="2293658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  <a:stCxn id="562" idx="3"/>
            <a:endCxn id="500" idx="1"/>
          </p:cNvCxnSpPr>
          <p:nvPr/>
        </p:nvCxnSpPr>
        <p:spPr>
          <a:xfrm>
            <a:off x="3929795" y="5507710"/>
            <a:ext cx="1486781" cy="7085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>
            <a:off x="3929795" y="5507710"/>
            <a:ext cx="1486781" cy="3799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08538FC-46CB-4AFA-92BE-E6EB2C995F0B}"/>
              </a:ext>
            </a:extLst>
          </p:cNvPr>
          <p:cNvSpPr txBox="1"/>
          <p:nvPr/>
        </p:nvSpPr>
        <p:spPr>
          <a:xfrm>
            <a:off x="9260947" y="413918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Bachelor </a:t>
            </a:r>
            <a:r>
              <a:rPr lang="nb-NO" sz="1100" err="1">
                <a:solidFill>
                  <a:schemeClr val="bg1"/>
                </a:solidFill>
              </a:rPr>
              <a:t>fysio</a:t>
            </a:r>
            <a:endParaRPr lang="nb-NO" sz="1100">
              <a:solidFill>
                <a:schemeClr val="bg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8016F43-90FE-46DB-A7E4-733125CB7413}"/>
              </a:ext>
            </a:extLst>
          </p:cNvPr>
          <p:cNvSpPr txBox="1"/>
          <p:nvPr/>
        </p:nvSpPr>
        <p:spPr>
          <a:xfrm>
            <a:off x="9260947" y="448927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Bachelor ergo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AECF552-D2AA-48DD-803C-C3CDDF9E9006}"/>
              </a:ext>
            </a:extLst>
          </p:cNvPr>
          <p:cNvSpPr txBox="1"/>
          <p:nvPr/>
        </p:nvSpPr>
        <p:spPr>
          <a:xfrm>
            <a:off x="9260947" y="483936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Master i </a:t>
            </a:r>
            <a:r>
              <a:rPr lang="nb-NO" sz="1100" err="1">
                <a:solidFill>
                  <a:schemeClr val="bg1"/>
                </a:solidFill>
              </a:rPr>
              <a:t>bev.vit</a:t>
            </a:r>
            <a:endParaRPr lang="nb-NO" sz="1100">
              <a:solidFill>
                <a:schemeClr val="bg1"/>
              </a:solidFill>
            </a:endParaRPr>
          </a:p>
        </p:txBody>
      </p: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C809E2C5-B3A4-4052-B7CE-57010C6B7D27}"/>
              </a:ext>
            </a:extLst>
          </p:cNvPr>
          <p:cNvCxnSpPr>
            <a:cxnSpLocks/>
            <a:stCxn id="392" idx="3"/>
            <a:endCxn id="122" idx="1"/>
          </p:cNvCxnSpPr>
          <p:nvPr/>
        </p:nvCxnSpPr>
        <p:spPr>
          <a:xfrm flipV="1">
            <a:off x="8253924" y="4283905"/>
            <a:ext cx="1007023" cy="33675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43F25810-6D8C-4D1E-B9D4-1C640C40C172}"/>
              </a:ext>
            </a:extLst>
          </p:cNvPr>
          <p:cNvCxnSpPr>
            <a:cxnSpLocks/>
            <a:stCxn id="392" idx="3"/>
            <a:endCxn id="123" idx="1"/>
          </p:cNvCxnSpPr>
          <p:nvPr/>
        </p:nvCxnSpPr>
        <p:spPr>
          <a:xfrm>
            <a:off x="8253924" y="4620655"/>
            <a:ext cx="1007023" cy="1334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FB64B794-A6E6-4C85-BE9F-49FA04E81D8A}"/>
              </a:ext>
            </a:extLst>
          </p:cNvPr>
          <p:cNvCxnSpPr>
            <a:cxnSpLocks/>
            <a:stCxn id="392" idx="3"/>
            <a:endCxn id="124" idx="1"/>
          </p:cNvCxnSpPr>
          <p:nvPr/>
        </p:nvCxnSpPr>
        <p:spPr>
          <a:xfrm>
            <a:off x="8253924" y="4620655"/>
            <a:ext cx="1007023" cy="36343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4BAE53F-E334-4874-BBE1-61E154EF79FE}"/>
              </a:ext>
            </a:extLst>
          </p:cNvPr>
          <p:cNvSpPr txBox="1"/>
          <p:nvPr/>
        </p:nvSpPr>
        <p:spPr>
          <a:xfrm>
            <a:off x="9260947" y="652680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strument X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47A9CAF-9D8D-4E17-8C1A-9BE1BE68EDB2}"/>
              </a:ext>
            </a:extLst>
          </p:cNvPr>
          <p:cNvSpPr txBox="1"/>
          <p:nvPr/>
        </p:nvSpPr>
        <p:spPr>
          <a:xfrm>
            <a:off x="9260947" y="1012497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strument Z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1042028-D2DC-491C-A5ED-8D89E7CD2185}"/>
              </a:ext>
            </a:extLst>
          </p:cNvPr>
          <p:cNvCxnSpPr>
            <a:cxnSpLocks/>
            <a:stCxn id="379" idx="3"/>
            <a:endCxn id="134" idx="1"/>
          </p:cNvCxnSpPr>
          <p:nvPr/>
        </p:nvCxnSpPr>
        <p:spPr>
          <a:xfrm flipV="1">
            <a:off x="8139622" y="797401"/>
            <a:ext cx="1121325" cy="14472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31669D5-3239-4618-8AE1-3B2AB347EDA2}"/>
              </a:ext>
            </a:extLst>
          </p:cNvPr>
          <p:cNvCxnSpPr>
            <a:cxnSpLocks/>
            <a:stCxn id="379" idx="3"/>
            <a:endCxn id="135" idx="1"/>
          </p:cNvCxnSpPr>
          <p:nvPr/>
        </p:nvCxnSpPr>
        <p:spPr>
          <a:xfrm>
            <a:off x="8139622" y="942122"/>
            <a:ext cx="1121325" cy="2150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1C53934C-B3CE-4DE7-A61E-AFA588D652D8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0534D7A-B11C-4EE8-9D5D-9720911F00E3}"/>
              </a:ext>
            </a:extLst>
          </p:cNvPr>
          <p:cNvSpPr txBox="1"/>
          <p:nvPr/>
        </p:nvSpPr>
        <p:spPr>
          <a:xfrm>
            <a:off x="2185382" y="-8337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C436787-F67B-414E-8AEC-6B4C36F43ECE}"/>
              </a:ext>
            </a:extLst>
          </p:cNvPr>
          <p:cNvSpPr txBox="1"/>
          <p:nvPr/>
        </p:nvSpPr>
        <p:spPr>
          <a:xfrm>
            <a:off x="5880661" y="39026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4657A7B-9281-48BE-AEA7-CB62137E8469}"/>
              </a:ext>
            </a:extLst>
          </p:cNvPr>
          <p:cNvSpPr txBox="1"/>
          <p:nvPr/>
        </p:nvSpPr>
        <p:spPr>
          <a:xfrm>
            <a:off x="9611718" y="45015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B081A1A-68B5-47D5-9612-F4A7C288B9E8}"/>
              </a:ext>
            </a:extLst>
          </p:cNvPr>
          <p:cNvSpPr txBox="1"/>
          <p:nvPr/>
        </p:nvSpPr>
        <p:spPr>
          <a:xfrm>
            <a:off x="9455548" y="1398383"/>
            <a:ext cx="2445945" cy="17706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: </a:t>
            </a:r>
            <a:r>
              <a:rPr lang="nb-NO" sz="1400"/>
              <a:t>Investeringer som ønskes løftes til NTNUs investeringsplan og finansieres av avsetninger må ha eget delprosjektnummer.</a:t>
            </a:r>
          </a:p>
          <a:p>
            <a:endParaRPr lang="nb-NO" sz="14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A8ECB4-0BD3-426A-90FE-97D7E7B7C4AC}"/>
              </a:ext>
            </a:extLst>
          </p:cNvPr>
          <p:cNvSpPr txBox="1"/>
          <p:nvPr/>
        </p:nvSpPr>
        <p:spPr>
          <a:xfrm>
            <a:off x="9455549" y="5330862"/>
            <a:ext cx="2445945" cy="10556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: </a:t>
            </a:r>
            <a:r>
              <a:rPr lang="nb-NO" sz="1400"/>
              <a:t>Opprette minimum ett delprosjekt for å samle kostnader knyttet til et studieprogram.</a:t>
            </a:r>
          </a:p>
        </p:txBody>
      </p:sp>
    </p:spTree>
    <p:extLst>
      <p:ext uri="{BB962C8B-B14F-4D97-AF65-F5344CB8AC3E}">
        <p14:creationId xmlns:p14="http://schemas.microsoft.com/office/powerpoint/2010/main" val="4025255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4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4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4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5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5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4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10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10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100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1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1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8" fill="hold">
                      <p:stCondLst>
                        <p:cond delay="indefinite"/>
                      </p:stCondLst>
                      <p:childTnLst>
                        <p:par>
                          <p:cTn id="209" fill="hold">
                            <p:stCondLst>
                              <p:cond delay="0"/>
                            </p:stCondLst>
                            <p:childTnLst>
                              <p:par>
                                <p:cTn id="2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1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0" fill="hold">
                      <p:stCondLst>
                        <p:cond delay="indefinite"/>
                      </p:stCondLst>
                      <p:childTnLst>
                        <p:par>
                          <p:cTn id="241" fill="hold">
                            <p:stCondLst>
                              <p:cond delay="0"/>
                            </p:stCondLst>
                            <p:childTnLst>
                              <p:par>
                                <p:cTn id="2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7" fill="hold">
                      <p:stCondLst>
                        <p:cond delay="indefinite"/>
                      </p:stCondLst>
                      <p:childTnLst>
                        <p:par>
                          <p:cTn id="248" fill="hold">
                            <p:stCondLst>
                              <p:cond delay="0"/>
                            </p:stCondLst>
                            <p:childTnLst>
                              <p:par>
                                <p:cTn id="2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122" grpId="0" animBg="1"/>
      <p:bldP spid="123" grpId="0" animBg="1"/>
      <p:bldP spid="124" grpId="0" animBg="1"/>
      <p:bldP spid="134" grpId="0" animBg="1"/>
      <p:bldP spid="135" grpId="0" animBg="1"/>
      <p:bldP spid="55" grpId="0" animBg="1"/>
      <p:bldP spid="5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49B0B23-CAEC-4927-9B49-6E6FEFCE66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332905" y="-5346382"/>
            <a:ext cx="1526192" cy="1219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011448-84EC-4AE9-8CAA-87B296894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785" y="152203"/>
            <a:ext cx="10515600" cy="934491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RD: Hvordan kan vi bruke dett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FE9B9-FD9A-4FA7-808C-3A53531F2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977" y="2874129"/>
            <a:ext cx="4888787" cy="29311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A097DC7-EB13-4A29-A1A2-FE29341CF6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6368" y="3373572"/>
            <a:ext cx="4956277" cy="29311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24F6F4-B6DC-4419-9F56-94E501FB8B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785" y="2159425"/>
            <a:ext cx="2804614" cy="477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619D0A-B6DC-473E-A8A0-BA41706C08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8398" y="2159424"/>
            <a:ext cx="3149521" cy="477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75B180-81B6-40D7-B09C-FD56F8888296}"/>
              </a:ext>
            </a:extLst>
          </p:cNvPr>
          <p:cNvSpPr txBox="1"/>
          <p:nvPr/>
        </p:nvSpPr>
        <p:spPr>
          <a:xfrm>
            <a:off x="752690" y="2255823"/>
            <a:ext cx="18597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/>
              <a:t>Strategiske aktivite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A50C7C-5A33-43C9-8D0B-37A57C21258F}"/>
              </a:ext>
            </a:extLst>
          </p:cNvPr>
          <p:cNvSpPr txBox="1"/>
          <p:nvPr/>
        </p:nvSpPr>
        <p:spPr>
          <a:xfrm>
            <a:off x="3590269" y="2286601"/>
            <a:ext cx="257784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 dirty="0">
                <a:latin typeface="Calibri" panose="020F0502020204030204" pitchFamily="34" charset="0"/>
              </a:rPr>
              <a:t>Strategiske investeringer i infrastruktur</a:t>
            </a:r>
            <a:endParaRPr lang="nb-NO" sz="1200" dirty="0">
              <a:latin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BA8D0A-5905-492A-BBBA-3447C09912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0823" y="2159425"/>
            <a:ext cx="2804614" cy="4779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D6A5B-D884-4708-84A4-207587B0CB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436" y="2159424"/>
            <a:ext cx="2567209" cy="4779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1BE19D-1E4E-49DD-A957-4AD36DE9CD74}"/>
              </a:ext>
            </a:extLst>
          </p:cNvPr>
          <p:cNvSpPr txBox="1"/>
          <p:nvPr/>
        </p:nvSpPr>
        <p:spPr>
          <a:xfrm>
            <a:off x="6739728" y="2247114"/>
            <a:ext cx="204686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/>
              <a:t>Driftsaktivit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0FFA2-3C7B-4EB3-914A-8AA4E6DB7128}"/>
              </a:ext>
            </a:extLst>
          </p:cNvPr>
          <p:cNvSpPr txBox="1"/>
          <p:nvPr/>
        </p:nvSpPr>
        <p:spPr>
          <a:xfrm>
            <a:off x="9511438" y="2259882"/>
            <a:ext cx="18423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>
                <a:latin typeface="Calibri" panose="020F0502020204030204" pitchFamily="34" charset="0"/>
              </a:rPr>
              <a:t>Utdanningsdrift</a:t>
            </a:r>
            <a:endParaRPr lang="nb-NO" sz="1400" dirty="0"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506A42-DE38-4CF1-966E-54353EFC5AEB}"/>
              </a:ext>
            </a:extLst>
          </p:cNvPr>
          <p:cNvSpPr/>
          <p:nvPr/>
        </p:nvSpPr>
        <p:spPr>
          <a:xfrm>
            <a:off x="263785" y="201168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D5BD50-E909-4989-9E6D-F447191ADD31}"/>
              </a:ext>
            </a:extLst>
          </p:cNvPr>
          <p:cNvSpPr/>
          <p:nvPr/>
        </p:nvSpPr>
        <p:spPr>
          <a:xfrm>
            <a:off x="6271272" y="1993960"/>
            <a:ext cx="5846083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FBE4828-7300-4A6D-9799-9E2532F0CD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435" y="2640670"/>
            <a:ext cx="2567209" cy="47791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BFAADA8-F512-4799-B35A-F1B1BA139FBC}"/>
              </a:ext>
            </a:extLst>
          </p:cNvPr>
          <p:cNvSpPr txBox="1"/>
          <p:nvPr/>
        </p:nvSpPr>
        <p:spPr>
          <a:xfrm>
            <a:off x="9511437" y="2741128"/>
            <a:ext cx="18423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>
                <a:latin typeface="Calibri" panose="020F0502020204030204" pitchFamily="34" charset="0"/>
              </a:rPr>
              <a:t>XXXXX Bachelor i </a:t>
            </a:r>
            <a:r>
              <a:rPr lang="nb-NO" sz="1400" dirty="0" err="1">
                <a:latin typeface="Calibri" panose="020F0502020204030204" pitchFamily="34" charset="0"/>
              </a:rPr>
              <a:t>fysio</a:t>
            </a:r>
            <a:endParaRPr lang="nb-NO" sz="1400" dirty="0"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C08C177-075B-4BBB-A837-BEBEB7AFCB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8398" y="2656395"/>
            <a:ext cx="3149521" cy="47791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D87F4B1-6E33-4311-B040-04F688B515DD}"/>
              </a:ext>
            </a:extLst>
          </p:cNvPr>
          <p:cNvSpPr txBox="1"/>
          <p:nvPr/>
        </p:nvSpPr>
        <p:spPr>
          <a:xfrm>
            <a:off x="3590269" y="2783572"/>
            <a:ext cx="257784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 dirty="0">
                <a:latin typeface="Calibri" panose="020F0502020204030204" pitchFamily="34" charset="0"/>
              </a:rPr>
              <a:t>Instrument X</a:t>
            </a:r>
            <a:endParaRPr lang="nb-NO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842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3" grpId="0" animBg="1"/>
      <p:bldP spid="18" grpId="0" animBg="1"/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0937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6" idx="1"/>
            <a:endCxn id="33" idx="1"/>
          </p:cNvCxnSpPr>
          <p:nvPr/>
        </p:nvCxnSpPr>
        <p:spPr>
          <a:xfrm rot="10800000">
            <a:off x="4831343" y="3449972"/>
            <a:ext cx="12700" cy="1825946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</a:t>
            </a:r>
          </a:p>
        </p:txBody>
      </p:sp>
      <p:sp>
        <p:nvSpPr>
          <p:cNvPr id="16" name="Rektangel 15"/>
          <p:cNvSpPr/>
          <p:nvPr/>
        </p:nvSpPr>
        <p:spPr>
          <a:xfrm>
            <a:off x="4831343" y="4810294"/>
            <a:ext cx="1461600" cy="9312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31" name="Rektangel 30"/>
          <p:cNvSpPr/>
          <p:nvPr/>
        </p:nvSpPr>
        <p:spPr>
          <a:xfrm>
            <a:off x="4831343" y="3907736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ktangel 32"/>
          <p:cNvSpPr/>
          <p:nvPr/>
        </p:nvSpPr>
        <p:spPr>
          <a:xfrm>
            <a:off x="4831343" y="3170972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399" y="48014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1" y="478777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  <a:endCxn id="16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Rektangel 32">
            <a:extLst>
              <a:ext uri="{FF2B5EF4-FFF2-40B4-BE49-F238E27FC236}">
                <a16:creationId xmlns:a16="http://schemas.microsoft.com/office/drawing/2014/main" id="{8DC7B3C4-DBD9-46C3-91AD-0B8866F2BAA8}"/>
              </a:ext>
            </a:extLst>
          </p:cNvPr>
          <p:cNvSpPr/>
          <p:nvPr/>
        </p:nvSpPr>
        <p:spPr>
          <a:xfrm>
            <a:off x="4831343" y="2444644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90773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sifisering av finansieringskild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42391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0" y="242173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36328714-4640-411E-89A2-5A89C728CA9E}"/>
              </a:ext>
            </a:extLst>
          </p:cNvPr>
          <p:cNvCxnSpPr>
            <a:cxnSpLocks/>
            <a:stCxn id="16" idx="1"/>
            <a:endCxn id="87" idx="1"/>
          </p:cNvCxnSpPr>
          <p:nvPr/>
        </p:nvCxnSpPr>
        <p:spPr>
          <a:xfrm rot="10800000">
            <a:off x="4831343" y="2723644"/>
            <a:ext cx="12700" cy="2552274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s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FAA347D-8B7A-481A-A88E-7FA2CA3B4FCB}"/>
              </a:ext>
            </a:extLst>
          </p:cNvPr>
          <p:cNvCxnSpPr>
            <a:cxnSpLocks/>
          </p:cNvCxnSpPr>
          <p:nvPr/>
        </p:nvCxnSpPr>
        <p:spPr>
          <a:xfrm flipV="1">
            <a:off x="6517419" y="3507727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A1ED4641-0A81-4F6B-876A-80F67F751195}"/>
              </a:ext>
            </a:extLst>
          </p:cNvPr>
          <p:cNvCxnSpPr>
            <a:cxnSpLocks/>
          </p:cNvCxnSpPr>
          <p:nvPr/>
        </p:nvCxnSpPr>
        <p:spPr>
          <a:xfrm flipV="1">
            <a:off x="6517419" y="4195693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7633518" y="3140289"/>
            <a:ext cx="1853130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Bevilgning fra KD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7640753" y="4745824"/>
            <a:ext cx="2501729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800000001 Utdanningsdrift studieprogram X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7643441" y="3916277"/>
            <a:ext cx="1865400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RD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7607271" y="1571117"/>
            <a:ext cx="1859485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Driftsaktivitet</a:t>
            </a:r>
          </a:p>
        </p:txBody>
      </p:sp>
      <p:cxnSp>
        <p:nvCxnSpPr>
          <p:cNvPr id="56" name="Straight Arrow Connector 126">
            <a:extLst>
              <a:ext uri="{FF2B5EF4-FFF2-40B4-BE49-F238E27FC236}">
                <a16:creationId xmlns:a16="http://schemas.microsoft.com/office/drawing/2014/main" id="{17F2185D-1E16-420D-A6C0-6A2464ED4FF9}"/>
              </a:ext>
            </a:extLst>
          </p:cNvPr>
          <p:cNvCxnSpPr>
            <a:cxnSpLocks/>
          </p:cNvCxnSpPr>
          <p:nvPr/>
        </p:nvCxnSpPr>
        <p:spPr>
          <a:xfrm flipV="1">
            <a:off x="6516791" y="2696577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126">
            <a:extLst>
              <a:ext uri="{FF2B5EF4-FFF2-40B4-BE49-F238E27FC236}">
                <a16:creationId xmlns:a16="http://schemas.microsoft.com/office/drawing/2014/main" id="{5BE03D7E-A1A5-4A0D-A8DE-0455181BEBDE}"/>
              </a:ext>
            </a:extLst>
          </p:cNvPr>
          <p:cNvCxnSpPr>
            <a:cxnSpLocks/>
          </p:cNvCxnSpPr>
          <p:nvPr/>
        </p:nvCxnSpPr>
        <p:spPr>
          <a:xfrm flipV="1">
            <a:off x="4593559" y="4198535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kstSylinder 101">
            <a:extLst>
              <a:ext uri="{FF2B5EF4-FFF2-40B4-BE49-F238E27FC236}">
                <a16:creationId xmlns:a16="http://schemas.microsoft.com/office/drawing/2014/main" id="{51689D25-2CD0-43E8-A789-36AA972C4288}"/>
              </a:ext>
            </a:extLst>
          </p:cNvPr>
          <p:cNvSpPr txBox="1"/>
          <p:nvPr/>
        </p:nvSpPr>
        <p:spPr>
          <a:xfrm>
            <a:off x="7640752" y="2329040"/>
            <a:ext cx="1859485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Utdanningsdrift</a:t>
            </a:r>
          </a:p>
        </p:txBody>
      </p:sp>
      <p:sp>
        <p:nvSpPr>
          <p:cNvPr id="38" name="Snakkeboble: rektangel med avrundede hjørner 43">
            <a:extLst>
              <a:ext uri="{FF2B5EF4-FFF2-40B4-BE49-F238E27FC236}">
                <a16:creationId xmlns:a16="http://schemas.microsoft.com/office/drawing/2014/main" id="{4E52F797-1CFD-4547-907B-5D9C8EA96AF2}"/>
              </a:ext>
            </a:extLst>
          </p:cNvPr>
          <p:cNvSpPr/>
          <p:nvPr/>
        </p:nvSpPr>
        <p:spPr>
          <a:xfrm>
            <a:off x="2258317" y="3172715"/>
            <a:ext cx="2585726" cy="1638058"/>
          </a:xfrm>
          <a:prstGeom prst="wedgeRoundRectCallout">
            <a:avLst>
              <a:gd name="adj1" fmla="val 48549"/>
              <a:gd name="adj2" fmla="val 67817"/>
              <a:gd name="adj3" fmla="val 1666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nb-NO" sz="1400" b="1"/>
              <a:t>Anbefaling:</a:t>
            </a:r>
          </a:p>
          <a:p>
            <a:r>
              <a:rPr lang="nb-NO" sz="1400"/>
              <a:t>Inndeling i prosjekt bør kun skje der man vurderer det er vesentlige behov som ikke dekkes gjennom øvrige elementer i økonomimodellen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312508-E101-4250-A3A9-9F197598320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3522"/>
          <a:stretch/>
        </p:blipFill>
        <p:spPr>
          <a:xfrm rot="5400000">
            <a:off x="5576064" y="-5588081"/>
            <a:ext cx="1028701" cy="12180831"/>
          </a:xfrm>
          <a:prstGeom prst="rect">
            <a:avLst/>
          </a:prstGeom>
        </p:spPr>
      </p:pic>
      <p:sp>
        <p:nvSpPr>
          <p:cNvPr id="39" name="Tittel 1">
            <a:extLst>
              <a:ext uri="{FF2B5EF4-FFF2-40B4-BE49-F238E27FC236}">
                <a16:creationId xmlns:a16="http://schemas.microsoft.com/office/drawing/2014/main" id="{2A57BE38-8753-48D7-8E9A-90E60BC4E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94" y="120781"/>
            <a:ext cx="9418561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struktur BFV – et eksempel</a:t>
            </a:r>
            <a:endParaRPr lang="nb-NO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600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65" grpId="0" animBg="1"/>
      <p:bldP spid="67" grpId="0" animBg="1"/>
      <p:bldP spid="72" grpId="0" animBg="1"/>
      <p:bldP spid="102" grpId="0" animBg="1"/>
      <p:bldP spid="3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Rectangle: Rounded Corners 575">
            <a:extLst>
              <a:ext uri="{FF2B5EF4-FFF2-40B4-BE49-F238E27FC236}">
                <a16:creationId xmlns:a16="http://schemas.microsoft.com/office/drawing/2014/main" id="{62F686D8-4F64-40B1-A1B0-756F3AC33C41}"/>
              </a:ext>
            </a:extLst>
          </p:cNvPr>
          <p:cNvSpPr/>
          <p:nvPr/>
        </p:nvSpPr>
        <p:spPr>
          <a:xfrm>
            <a:off x="9312180" y="0"/>
            <a:ext cx="2870294" cy="6858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7" name="Rectangle: Rounded Corners 576">
            <a:extLst>
              <a:ext uri="{FF2B5EF4-FFF2-40B4-BE49-F238E27FC236}">
                <a16:creationId xmlns:a16="http://schemas.microsoft.com/office/drawing/2014/main" id="{84BE822D-96E1-4934-91D2-4538C51EA664}"/>
              </a:ext>
            </a:extLst>
          </p:cNvPr>
          <p:cNvSpPr/>
          <p:nvPr/>
        </p:nvSpPr>
        <p:spPr>
          <a:xfrm>
            <a:off x="4546380" y="0"/>
            <a:ext cx="4692870" cy="6858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8" name="Rectangle: Rounded Corners 577">
            <a:extLst>
              <a:ext uri="{FF2B5EF4-FFF2-40B4-BE49-F238E27FC236}">
                <a16:creationId xmlns:a16="http://schemas.microsoft.com/office/drawing/2014/main" id="{9711FF03-DFCC-46F6-8FBF-D8C8ECAE6D83}"/>
              </a:ext>
            </a:extLst>
          </p:cNvPr>
          <p:cNvSpPr/>
          <p:nvPr/>
        </p:nvSpPr>
        <p:spPr>
          <a:xfrm>
            <a:off x="1704180" y="0"/>
            <a:ext cx="2769270" cy="685799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9" name="Rectangle: Rounded Corners 578">
            <a:extLst>
              <a:ext uri="{FF2B5EF4-FFF2-40B4-BE49-F238E27FC236}">
                <a16:creationId xmlns:a16="http://schemas.microsoft.com/office/drawing/2014/main" id="{9CAFAD6D-4B48-4BAD-BE69-C0F3E15D695E}"/>
              </a:ext>
            </a:extLst>
          </p:cNvPr>
          <p:cNvSpPr/>
          <p:nvPr/>
        </p:nvSpPr>
        <p:spPr>
          <a:xfrm>
            <a:off x="48347" y="15530"/>
            <a:ext cx="1562100" cy="681185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74588" y="3366854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S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265626"/>
            <a:ext cx="1696058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Tverrgående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AD6308-5498-4E48-BB0B-5066FE482164}"/>
              </a:ext>
            </a:extLst>
          </p:cNvPr>
          <p:cNvSpPr txBox="1"/>
          <p:nvPr/>
        </p:nvSpPr>
        <p:spPr>
          <a:xfrm>
            <a:off x="2261714" y="5373522"/>
            <a:ext cx="1693860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Organisasjon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39912" y="623171"/>
            <a:ext cx="702108" cy="294799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AFD6496C-5A92-4AE1-AD8C-16FBB9BD1C5E}"/>
              </a:ext>
            </a:extLst>
          </p:cNvPr>
          <p:cNvCxnSpPr>
            <a:cxnSpLocks/>
            <a:stCxn id="12" idx="3"/>
            <a:endCxn id="63" idx="1"/>
          </p:cNvCxnSpPr>
          <p:nvPr/>
        </p:nvCxnSpPr>
        <p:spPr>
          <a:xfrm>
            <a:off x="1539912" y="3571166"/>
            <a:ext cx="739690" cy="119769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99BC2B5F-5487-4015-82FD-30EE02EFA8E3}"/>
              </a:ext>
            </a:extLst>
          </p:cNvPr>
          <p:cNvSpPr txBox="1"/>
          <p:nvPr/>
        </p:nvSpPr>
        <p:spPr>
          <a:xfrm>
            <a:off x="2242020" y="1670535"/>
            <a:ext cx="1703976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Forskn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E1288E1-1783-404A-BCC7-5793585A1EB6}"/>
              </a:ext>
            </a:extLst>
          </p:cNvPr>
          <p:cNvSpPr txBox="1"/>
          <p:nvPr/>
        </p:nvSpPr>
        <p:spPr>
          <a:xfrm>
            <a:off x="2279602" y="4411311"/>
            <a:ext cx="1628811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Nyskap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B4AEF0-5B50-4502-BB8B-5A18204D8F5F}"/>
              </a:ext>
            </a:extLst>
          </p:cNvPr>
          <p:cNvSpPr txBox="1"/>
          <p:nvPr/>
        </p:nvSpPr>
        <p:spPr>
          <a:xfrm>
            <a:off x="2242020" y="3206131"/>
            <a:ext cx="1693861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Utdann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6001852" y="16157"/>
            <a:ext cx="2832951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invester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6001853" y="355399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prosjekte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6001853" y="672032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Omstilling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6001853" y="100467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asjonalisering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6001854" y="1342814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infrastruktur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6001854" y="1682056"/>
            <a:ext cx="28329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miljøer </a:t>
            </a:r>
            <a:r>
              <a:rPr lang="nb-NO" sz="1100" err="1">
                <a:solidFill>
                  <a:schemeClr val="bg1"/>
                </a:solidFill>
              </a:rPr>
              <a:t>tidl</a:t>
            </a:r>
            <a:r>
              <a:rPr lang="nb-NO" sz="1100">
                <a:solidFill>
                  <a:schemeClr val="bg1"/>
                </a:solidFill>
              </a:rPr>
              <a:t> </a:t>
            </a:r>
            <a:r>
              <a:rPr lang="nb-NO" sz="1100" err="1">
                <a:solidFill>
                  <a:schemeClr val="bg1"/>
                </a:solidFill>
              </a:rPr>
              <a:t>HiST</a:t>
            </a:r>
            <a:endParaRPr lang="nb-NO" sz="1100">
              <a:solidFill>
                <a:schemeClr val="bg1"/>
              </a:solidFill>
            </a:endParaRP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6001854" y="1998689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NTNU Toppforskning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653D844D-1042-483F-A464-D1BCB3A2EEDC}"/>
              </a:ext>
            </a:extLst>
          </p:cNvPr>
          <p:cNvSpPr txBox="1"/>
          <p:nvPr/>
        </p:nvSpPr>
        <p:spPr>
          <a:xfrm>
            <a:off x="6001853" y="2331328"/>
            <a:ext cx="2832951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Muliggjørende teknologier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B345B32F-38F4-44D6-B50E-7AAF60E1BCBB}"/>
              </a:ext>
            </a:extLst>
          </p:cNvPr>
          <p:cNvSpPr txBox="1"/>
          <p:nvPr/>
        </p:nvSpPr>
        <p:spPr>
          <a:xfrm>
            <a:off x="6001854" y="2637655"/>
            <a:ext cx="2832951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Tematiske satsningsområder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B958144D-1AFB-4AF6-BDF5-FDE22BE081C3}"/>
              </a:ext>
            </a:extLst>
          </p:cNvPr>
          <p:cNvSpPr txBox="1"/>
          <p:nvPr/>
        </p:nvSpPr>
        <p:spPr>
          <a:xfrm>
            <a:off x="6001853" y="296324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NTNU Toppundervisning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B6D8BD3D-4767-4D67-8322-E423B6F0F675}"/>
              </a:ext>
            </a:extLst>
          </p:cNvPr>
          <p:cNvSpPr txBox="1"/>
          <p:nvPr/>
        </p:nvSpPr>
        <p:spPr>
          <a:xfrm>
            <a:off x="6001853" y="3276113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Læringsareal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6CA56D6F-E4D1-471D-944C-F0E2F69003B9}"/>
              </a:ext>
            </a:extLst>
          </p:cNvPr>
          <p:cNvSpPr txBox="1"/>
          <p:nvPr/>
        </p:nvSpPr>
        <p:spPr>
          <a:xfrm>
            <a:off x="6001853" y="3592746"/>
            <a:ext cx="2832952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strategiske tiltak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050211B8-131A-4E62-A634-75B5E86A32D7}"/>
              </a:ext>
            </a:extLst>
          </p:cNvPr>
          <p:cNvSpPr txBox="1"/>
          <p:nvPr/>
        </p:nvSpPr>
        <p:spPr>
          <a:xfrm>
            <a:off x="6001853" y="3925385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frastruktur utdanning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6001853" y="4301758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KI - Innovasjonsledere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6001853" y="4951197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e såkornmidler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6001853" y="5267807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niversitetskommuner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6001853" y="558683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igitalisering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5999655" y="590198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asjonalisering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6001853" y="4621784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P Forvaltning</a:t>
            </a:r>
          </a:p>
        </p:txBody>
      </p:sp>
      <p:cxnSp>
        <p:nvCxnSpPr>
          <p:cNvPr id="403" name="Connector: Elbow 402">
            <a:extLst>
              <a:ext uri="{FF2B5EF4-FFF2-40B4-BE49-F238E27FC236}">
                <a16:creationId xmlns:a16="http://schemas.microsoft.com/office/drawing/2014/main" id="{FA9FFD72-F399-40B5-A629-4E357137A9E0}"/>
              </a:ext>
            </a:extLst>
          </p:cNvPr>
          <p:cNvCxnSpPr>
            <a:cxnSpLocks/>
            <a:stCxn id="12" idx="3"/>
            <a:endCxn id="28" idx="1"/>
          </p:cNvCxnSpPr>
          <p:nvPr/>
        </p:nvCxnSpPr>
        <p:spPr>
          <a:xfrm>
            <a:off x="1539912" y="3571166"/>
            <a:ext cx="721802" cy="215990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Connector: Elbow 405">
            <a:extLst>
              <a:ext uri="{FF2B5EF4-FFF2-40B4-BE49-F238E27FC236}">
                <a16:creationId xmlns:a16="http://schemas.microsoft.com/office/drawing/2014/main" id="{02B347B0-3AC2-4D12-A5C3-96854F4B35E3}"/>
              </a:ext>
            </a:extLst>
          </p:cNvPr>
          <p:cNvCxnSpPr>
            <a:cxnSpLocks/>
            <a:stCxn id="12" idx="3"/>
            <a:endCxn id="64" idx="1"/>
          </p:cNvCxnSpPr>
          <p:nvPr/>
        </p:nvCxnSpPr>
        <p:spPr>
          <a:xfrm flipV="1">
            <a:off x="1539912" y="3563676"/>
            <a:ext cx="702108" cy="749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Connector: Elbow 408">
            <a:extLst>
              <a:ext uri="{FF2B5EF4-FFF2-40B4-BE49-F238E27FC236}">
                <a16:creationId xmlns:a16="http://schemas.microsoft.com/office/drawing/2014/main" id="{55FB41D1-5979-4BFC-BC9A-852E14245AEE}"/>
              </a:ext>
            </a:extLst>
          </p:cNvPr>
          <p:cNvCxnSpPr>
            <a:cxnSpLocks/>
            <a:stCxn id="12" idx="3"/>
            <a:endCxn id="54" idx="1"/>
          </p:cNvCxnSpPr>
          <p:nvPr/>
        </p:nvCxnSpPr>
        <p:spPr>
          <a:xfrm flipV="1">
            <a:off x="1539912" y="2028080"/>
            <a:ext cx="702108" cy="154308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160878"/>
            <a:ext cx="2063774" cy="462293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</p:cNvCxnSpPr>
          <p:nvPr/>
        </p:nvCxnSpPr>
        <p:spPr>
          <a:xfrm>
            <a:off x="3930103" y="643760"/>
            <a:ext cx="2063775" cy="193582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 flipV="1">
            <a:off x="3938078" y="500120"/>
            <a:ext cx="2063775" cy="123051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</p:cNvCxnSpPr>
          <p:nvPr/>
        </p:nvCxnSpPr>
        <p:spPr>
          <a:xfrm>
            <a:off x="3923245" y="623170"/>
            <a:ext cx="2063775" cy="526221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54" idx="3"/>
            <a:endCxn id="382" idx="1"/>
          </p:cNvCxnSpPr>
          <p:nvPr/>
        </p:nvCxnSpPr>
        <p:spPr>
          <a:xfrm flipV="1">
            <a:off x="3945996" y="1487535"/>
            <a:ext cx="2055858" cy="540545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54" idx="3"/>
            <a:endCxn id="383" idx="1"/>
          </p:cNvCxnSpPr>
          <p:nvPr/>
        </p:nvCxnSpPr>
        <p:spPr>
          <a:xfrm flipV="1">
            <a:off x="3945996" y="1826777"/>
            <a:ext cx="2055858" cy="201303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54" idx="3"/>
            <a:endCxn id="384" idx="1"/>
          </p:cNvCxnSpPr>
          <p:nvPr/>
        </p:nvCxnSpPr>
        <p:spPr>
          <a:xfrm>
            <a:off x="3945996" y="2028080"/>
            <a:ext cx="2055858" cy="115330"/>
          </a:xfrm>
          <a:prstGeom prst="bentConnector3">
            <a:avLst>
              <a:gd name="adj1" fmla="val 8474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Connector: Elbow 439">
            <a:extLst>
              <a:ext uri="{FF2B5EF4-FFF2-40B4-BE49-F238E27FC236}">
                <a16:creationId xmlns:a16="http://schemas.microsoft.com/office/drawing/2014/main" id="{60E148A4-A5EB-45D6-9828-2CF8D443C843}"/>
              </a:ext>
            </a:extLst>
          </p:cNvPr>
          <p:cNvCxnSpPr>
            <a:cxnSpLocks/>
            <a:stCxn id="54" idx="3"/>
            <a:endCxn id="385" idx="1"/>
          </p:cNvCxnSpPr>
          <p:nvPr/>
        </p:nvCxnSpPr>
        <p:spPr>
          <a:xfrm>
            <a:off x="3945996" y="2028080"/>
            <a:ext cx="2055857" cy="447969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Connector: Elbow 442">
            <a:extLst>
              <a:ext uri="{FF2B5EF4-FFF2-40B4-BE49-F238E27FC236}">
                <a16:creationId xmlns:a16="http://schemas.microsoft.com/office/drawing/2014/main" id="{389D2DCA-B306-4BBE-A955-30CB133F49CA}"/>
              </a:ext>
            </a:extLst>
          </p:cNvPr>
          <p:cNvCxnSpPr>
            <a:cxnSpLocks/>
            <a:stCxn id="54" idx="3"/>
            <a:endCxn id="386" idx="1"/>
          </p:cNvCxnSpPr>
          <p:nvPr/>
        </p:nvCxnSpPr>
        <p:spPr>
          <a:xfrm>
            <a:off x="3945996" y="2028080"/>
            <a:ext cx="2055858" cy="754296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Connector: Elbow 445">
            <a:extLst>
              <a:ext uri="{FF2B5EF4-FFF2-40B4-BE49-F238E27FC236}">
                <a16:creationId xmlns:a16="http://schemas.microsoft.com/office/drawing/2014/main" id="{988C2B93-E770-4C78-89B6-0AE332E93800}"/>
              </a:ext>
            </a:extLst>
          </p:cNvPr>
          <p:cNvCxnSpPr>
            <a:cxnSpLocks/>
            <a:stCxn id="64" idx="3"/>
            <a:endCxn id="387" idx="1"/>
          </p:cNvCxnSpPr>
          <p:nvPr/>
        </p:nvCxnSpPr>
        <p:spPr>
          <a:xfrm flipV="1">
            <a:off x="3935881" y="3107968"/>
            <a:ext cx="2065972" cy="455708"/>
          </a:xfrm>
          <a:prstGeom prst="bentConnector3">
            <a:avLst>
              <a:gd name="adj1" fmla="val 8447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Connector: Elbow 448">
            <a:extLst>
              <a:ext uri="{FF2B5EF4-FFF2-40B4-BE49-F238E27FC236}">
                <a16:creationId xmlns:a16="http://schemas.microsoft.com/office/drawing/2014/main" id="{2B6B2FA1-1EE4-484E-9AB5-46B3D80FC200}"/>
              </a:ext>
            </a:extLst>
          </p:cNvPr>
          <p:cNvCxnSpPr>
            <a:cxnSpLocks/>
            <a:stCxn id="64" idx="3"/>
            <a:endCxn id="388" idx="1"/>
          </p:cNvCxnSpPr>
          <p:nvPr/>
        </p:nvCxnSpPr>
        <p:spPr>
          <a:xfrm flipV="1">
            <a:off x="3935881" y="3420834"/>
            <a:ext cx="2065972" cy="142842"/>
          </a:xfrm>
          <a:prstGeom prst="bentConnector3">
            <a:avLst>
              <a:gd name="adj1" fmla="val 8457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Connector: Elbow 451">
            <a:extLst>
              <a:ext uri="{FF2B5EF4-FFF2-40B4-BE49-F238E27FC236}">
                <a16:creationId xmlns:a16="http://schemas.microsoft.com/office/drawing/2014/main" id="{45275073-A781-44FA-A572-4FBABD6F3215}"/>
              </a:ext>
            </a:extLst>
          </p:cNvPr>
          <p:cNvCxnSpPr>
            <a:cxnSpLocks/>
            <a:stCxn id="64" idx="3"/>
            <a:endCxn id="389" idx="1"/>
          </p:cNvCxnSpPr>
          <p:nvPr/>
        </p:nvCxnSpPr>
        <p:spPr>
          <a:xfrm>
            <a:off x="3935881" y="3563676"/>
            <a:ext cx="2065972" cy="173791"/>
          </a:xfrm>
          <a:prstGeom prst="bentConnector3">
            <a:avLst>
              <a:gd name="adj1" fmla="val 8457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Connector: Elbow 454">
            <a:extLst>
              <a:ext uri="{FF2B5EF4-FFF2-40B4-BE49-F238E27FC236}">
                <a16:creationId xmlns:a16="http://schemas.microsoft.com/office/drawing/2014/main" id="{900A9E73-18F0-44DF-A1CE-393535531E71}"/>
              </a:ext>
            </a:extLst>
          </p:cNvPr>
          <p:cNvCxnSpPr>
            <a:cxnSpLocks/>
            <a:stCxn id="64" idx="3"/>
            <a:endCxn id="390" idx="1"/>
          </p:cNvCxnSpPr>
          <p:nvPr/>
        </p:nvCxnSpPr>
        <p:spPr>
          <a:xfrm>
            <a:off x="3935881" y="3563676"/>
            <a:ext cx="2065972" cy="506430"/>
          </a:xfrm>
          <a:prstGeom prst="bentConnector3">
            <a:avLst>
              <a:gd name="adj1" fmla="val 8411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63" idx="3"/>
            <a:endCxn id="391" idx="1"/>
          </p:cNvCxnSpPr>
          <p:nvPr/>
        </p:nvCxnSpPr>
        <p:spPr>
          <a:xfrm flipV="1">
            <a:off x="3908413" y="4446479"/>
            <a:ext cx="2093440" cy="322377"/>
          </a:xfrm>
          <a:prstGeom prst="bentConnector3">
            <a:avLst>
              <a:gd name="adj1" fmla="val 8191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63" idx="3"/>
            <a:endCxn id="400" idx="1"/>
          </p:cNvCxnSpPr>
          <p:nvPr/>
        </p:nvCxnSpPr>
        <p:spPr>
          <a:xfrm flipV="1">
            <a:off x="3908413" y="4766505"/>
            <a:ext cx="2093440" cy="235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63" idx="3"/>
            <a:endCxn id="392" idx="1"/>
          </p:cNvCxnSpPr>
          <p:nvPr/>
        </p:nvCxnSpPr>
        <p:spPr>
          <a:xfrm>
            <a:off x="3908413" y="4768856"/>
            <a:ext cx="2093440" cy="327062"/>
          </a:xfrm>
          <a:prstGeom prst="bentConnector3">
            <a:avLst>
              <a:gd name="adj1" fmla="val 8191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63" idx="3"/>
            <a:endCxn id="393" idx="1"/>
          </p:cNvCxnSpPr>
          <p:nvPr/>
        </p:nvCxnSpPr>
        <p:spPr>
          <a:xfrm>
            <a:off x="3908413" y="4768856"/>
            <a:ext cx="2093440" cy="643672"/>
          </a:xfrm>
          <a:prstGeom prst="bentConnector3">
            <a:avLst>
              <a:gd name="adj1" fmla="val 8233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28" idx="3"/>
            <a:endCxn id="394" idx="1"/>
          </p:cNvCxnSpPr>
          <p:nvPr/>
        </p:nvCxnSpPr>
        <p:spPr>
          <a:xfrm>
            <a:off x="3955574" y="5731067"/>
            <a:ext cx="2046279" cy="49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28" idx="3"/>
            <a:endCxn id="395" idx="1"/>
          </p:cNvCxnSpPr>
          <p:nvPr/>
        </p:nvCxnSpPr>
        <p:spPr>
          <a:xfrm>
            <a:off x="3955574" y="5731067"/>
            <a:ext cx="2044081" cy="315638"/>
          </a:xfrm>
          <a:prstGeom prst="bentConnector3">
            <a:avLst>
              <a:gd name="adj1" fmla="val 8226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5999655" y="6218231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rie rekrutteringsstillinger tildelt år X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5999655" y="6538055"/>
            <a:ext cx="2837348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Øremerket rekrutteringsstillinger tildelt år X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52135" y="6129576"/>
            <a:ext cx="1693860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ekrutterings-stillinger</a:t>
            </a: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39912" y="3571166"/>
            <a:ext cx="712223" cy="291595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</p:cNvCxnSpPr>
          <p:nvPr/>
        </p:nvCxnSpPr>
        <p:spPr>
          <a:xfrm>
            <a:off x="3937203" y="6487121"/>
            <a:ext cx="2053660" cy="195655"/>
          </a:xfrm>
          <a:prstGeom prst="bentConnector3">
            <a:avLst>
              <a:gd name="adj1" fmla="val 8339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 flipV="1">
            <a:off x="3945995" y="6362952"/>
            <a:ext cx="2053660" cy="124169"/>
          </a:xfrm>
          <a:prstGeom prst="bentConnector3">
            <a:avLst>
              <a:gd name="adj1" fmla="val 82966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5" name="TextBox 574">
            <a:extLst>
              <a:ext uri="{FF2B5EF4-FFF2-40B4-BE49-F238E27FC236}">
                <a16:creationId xmlns:a16="http://schemas.microsoft.com/office/drawing/2014/main" id="{FDE1D5EE-5D41-4ADB-A10B-CD247C409E4A}"/>
              </a:ext>
            </a:extLst>
          </p:cNvPr>
          <p:cNvSpPr txBox="1"/>
          <p:nvPr/>
        </p:nvSpPr>
        <p:spPr>
          <a:xfrm>
            <a:off x="183285" y="4855928"/>
            <a:ext cx="1209076" cy="646331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200" b="1" i="1"/>
              <a:t>Aktivitet og aktivitetstype tildeles av FA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A591B248-1496-4884-BE12-6824682F9D19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10F9F601-C3CA-4EC2-872C-32B3804D4219}"/>
              </a:ext>
            </a:extLst>
          </p:cNvPr>
          <p:cNvSpPr txBox="1"/>
          <p:nvPr/>
        </p:nvSpPr>
        <p:spPr>
          <a:xfrm>
            <a:off x="2252135" y="-32173"/>
            <a:ext cx="1703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925E4319-07BA-4F47-890D-890BF79EAC5A}"/>
              </a:ext>
            </a:extLst>
          </p:cNvPr>
          <p:cNvSpPr txBox="1"/>
          <p:nvPr/>
        </p:nvSpPr>
        <p:spPr>
          <a:xfrm>
            <a:off x="4554708" y="231525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619" name="TextBox 618">
            <a:extLst>
              <a:ext uri="{FF2B5EF4-FFF2-40B4-BE49-F238E27FC236}">
                <a16:creationId xmlns:a16="http://schemas.microsoft.com/office/drawing/2014/main" id="{BB07C09F-E629-43D4-A4EF-64822389D76D}"/>
              </a:ext>
            </a:extLst>
          </p:cNvPr>
          <p:cNvSpPr txBox="1"/>
          <p:nvPr/>
        </p:nvSpPr>
        <p:spPr>
          <a:xfrm>
            <a:off x="10020883" y="46859"/>
            <a:ext cx="145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F29ADEA-8286-4D1D-8446-058A6E2253C4}"/>
              </a:ext>
            </a:extLst>
          </p:cNvPr>
          <p:cNvSpPr txBox="1"/>
          <p:nvPr/>
        </p:nvSpPr>
        <p:spPr>
          <a:xfrm>
            <a:off x="9329752" y="1342132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Tungeregnemaski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EB71497-7F35-479A-91FF-65873F04D466}"/>
              </a:ext>
            </a:extLst>
          </p:cNvPr>
          <p:cNvSpPr txBox="1"/>
          <p:nvPr/>
        </p:nvSpPr>
        <p:spPr>
          <a:xfrm>
            <a:off x="9329752" y="3127778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novative læringsareal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64F97906-F14A-4BBF-84CC-466F2A09EED2}"/>
              </a:ext>
            </a:extLst>
          </p:cNvPr>
          <p:cNvCxnSpPr>
            <a:cxnSpLocks/>
            <a:stCxn id="382" idx="3"/>
            <a:endCxn id="66" idx="1"/>
          </p:cNvCxnSpPr>
          <p:nvPr/>
        </p:nvCxnSpPr>
        <p:spPr>
          <a:xfrm flipV="1">
            <a:off x="8837004" y="1486853"/>
            <a:ext cx="492748" cy="68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7C381AF7-B0F2-4DB0-92A7-D8B74B8B9787}"/>
              </a:ext>
            </a:extLst>
          </p:cNvPr>
          <p:cNvSpPr txBox="1"/>
          <p:nvPr/>
        </p:nvSpPr>
        <p:spPr>
          <a:xfrm>
            <a:off x="9312180" y="3486036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imulering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4BA76305-BCA4-4682-A9A8-08559D4121E0}"/>
              </a:ext>
            </a:extLst>
          </p:cNvPr>
          <p:cNvCxnSpPr>
            <a:cxnSpLocks/>
            <a:stCxn id="388" idx="3"/>
            <a:endCxn id="67" idx="1"/>
          </p:cNvCxnSpPr>
          <p:nvPr/>
        </p:nvCxnSpPr>
        <p:spPr>
          <a:xfrm flipV="1">
            <a:off x="8837003" y="3272499"/>
            <a:ext cx="492749" cy="14833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78D4B1A-304E-4E55-BD9F-2AFDA5FAF9FC}"/>
              </a:ext>
            </a:extLst>
          </p:cNvPr>
          <p:cNvCxnSpPr>
            <a:cxnSpLocks/>
            <a:endCxn id="71" idx="1"/>
          </p:cNvCxnSpPr>
          <p:nvPr/>
        </p:nvCxnSpPr>
        <p:spPr>
          <a:xfrm>
            <a:off x="8875639" y="3417219"/>
            <a:ext cx="436541" cy="213538"/>
          </a:xfrm>
          <a:prstGeom prst="bentConnector3">
            <a:avLst>
              <a:gd name="adj1" fmla="val 4798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334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28" grpId="0" animBg="1"/>
      <p:bldP spid="54" grpId="0" animBg="1"/>
      <p:bldP spid="63" grpId="0" animBg="1"/>
      <p:bldP spid="64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85" grpId="0" animBg="1"/>
      <p:bldP spid="386" grpId="0" animBg="1"/>
      <p:bldP spid="387" grpId="0" animBg="1"/>
      <p:bldP spid="388" grpId="0" animBg="1"/>
      <p:bldP spid="389" grpId="0" animBg="1"/>
      <p:bldP spid="390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66" grpId="0" animBg="1"/>
      <p:bldP spid="67" grpId="0" animBg="1"/>
      <p:bldP spid="7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4A7B492-3FDC-5246-B089-F5601197F101}"/>
              </a:ext>
            </a:extLst>
          </p:cNvPr>
          <p:cNvSpPr txBox="1"/>
          <p:nvPr/>
        </p:nvSpPr>
        <p:spPr>
          <a:xfrm>
            <a:off x="4025513" y="306186"/>
            <a:ext cx="414100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00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BOTT ØKONOMIMODEL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84BEB6-702D-D541-9816-84E6FC47FF6F}"/>
              </a:ext>
            </a:extLst>
          </p:cNvPr>
          <p:cNvSpPr txBox="1"/>
          <p:nvPr/>
        </p:nvSpPr>
        <p:spPr>
          <a:xfrm>
            <a:off x="4314904" y="787593"/>
            <a:ext cx="35621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spc="150">
                <a:solidFill>
                  <a:schemeClr val="bg1">
                    <a:lumMod val="65000"/>
                  </a:schemeClr>
                </a:solidFill>
                <a:latin typeface="Poppins Light" pitchFamily="2" charset="77"/>
                <a:cs typeface="Poppins Light" pitchFamily="2" charset="77"/>
              </a:rPr>
              <a:t>INNFØRINGSARBEID I FLERE FASER</a:t>
            </a:r>
          </a:p>
        </p:txBody>
      </p:sp>
      <p:sp>
        <p:nvSpPr>
          <p:cNvPr id="34" name="Freeform 7">
            <a:extLst>
              <a:ext uri="{FF2B5EF4-FFF2-40B4-BE49-F238E27FC236}">
                <a16:creationId xmlns:a16="http://schemas.microsoft.com/office/drawing/2014/main" id="{CC131338-016A-9C42-966F-95708D6E3D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0715" y="3945825"/>
            <a:ext cx="304215" cy="304215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5" name="Freeform 7">
            <a:extLst>
              <a:ext uri="{FF2B5EF4-FFF2-40B4-BE49-F238E27FC236}">
                <a16:creationId xmlns:a16="http://schemas.microsoft.com/office/drawing/2014/main" id="{F0108D22-0612-004D-91DE-94908B76D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3760" y="3945825"/>
            <a:ext cx="304215" cy="304215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6" name="Freeform 7">
            <a:extLst>
              <a:ext uri="{FF2B5EF4-FFF2-40B4-BE49-F238E27FC236}">
                <a16:creationId xmlns:a16="http://schemas.microsoft.com/office/drawing/2014/main" id="{66A0AEBF-A20C-BE4D-9A5D-BBF453C617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5076" y="3945825"/>
            <a:ext cx="304215" cy="304215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7" name="Freeform 7">
            <a:extLst>
              <a:ext uri="{FF2B5EF4-FFF2-40B4-BE49-F238E27FC236}">
                <a16:creationId xmlns:a16="http://schemas.microsoft.com/office/drawing/2014/main" id="{598A2E84-2553-CC40-B0C8-FBB5F8B17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9140" y="3945825"/>
            <a:ext cx="304215" cy="304215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19" name="Freeform 1">
            <a:extLst>
              <a:ext uri="{FF2B5EF4-FFF2-40B4-BE49-F238E27FC236}">
                <a16:creationId xmlns:a16="http://schemas.microsoft.com/office/drawing/2014/main" id="{88F2DCF0-F152-2947-922C-C2780FDF33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8666" y="2060265"/>
            <a:ext cx="1271772" cy="1433834"/>
          </a:xfrm>
          <a:custGeom>
            <a:avLst/>
            <a:gdLst>
              <a:gd name="T0" fmla="*/ 1019 w 2040"/>
              <a:gd name="T1" fmla="*/ 60 h 2300"/>
              <a:gd name="T2" fmla="*/ 1019 w 2040"/>
              <a:gd name="T3" fmla="*/ 60 h 2300"/>
              <a:gd name="T4" fmla="*/ 943 w 2040"/>
              <a:gd name="T5" fmla="*/ 80 h 2300"/>
              <a:gd name="T6" fmla="*/ 127 w 2040"/>
              <a:gd name="T7" fmla="*/ 551 h 2300"/>
              <a:gd name="T8" fmla="*/ 127 w 2040"/>
              <a:gd name="T9" fmla="*/ 551 h 2300"/>
              <a:gd name="T10" fmla="*/ 50 w 2040"/>
              <a:gd name="T11" fmla="*/ 684 h 2300"/>
              <a:gd name="T12" fmla="*/ 50 w 2040"/>
              <a:gd name="T13" fmla="*/ 1624 h 2300"/>
              <a:gd name="T14" fmla="*/ 50 w 2040"/>
              <a:gd name="T15" fmla="*/ 1624 h 2300"/>
              <a:gd name="T16" fmla="*/ 127 w 2040"/>
              <a:gd name="T17" fmla="*/ 1756 h 2300"/>
              <a:gd name="T18" fmla="*/ 943 w 2040"/>
              <a:gd name="T19" fmla="*/ 2227 h 2300"/>
              <a:gd name="T20" fmla="*/ 943 w 2040"/>
              <a:gd name="T21" fmla="*/ 2227 h 2300"/>
              <a:gd name="T22" fmla="*/ 1095 w 2040"/>
              <a:gd name="T23" fmla="*/ 2227 h 2300"/>
              <a:gd name="T24" fmla="*/ 1911 w 2040"/>
              <a:gd name="T25" fmla="*/ 1756 h 2300"/>
              <a:gd name="T26" fmla="*/ 1911 w 2040"/>
              <a:gd name="T27" fmla="*/ 1756 h 2300"/>
              <a:gd name="T28" fmla="*/ 1987 w 2040"/>
              <a:gd name="T29" fmla="*/ 1624 h 2300"/>
              <a:gd name="T30" fmla="*/ 1987 w 2040"/>
              <a:gd name="T31" fmla="*/ 684 h 2300"/>
              <a:gd name="T32" fmla="*/ 1987 w 2040"/>
              <a:gd name="T33" fmla="*/ 684 h 2300"/>
              <a:gd name="T34" fmla="*/ 1911 w 2040"/>
              <a:gd name="T35" fmla="*/ 551 h 2300"/>
              <a:gd name="T36" fmla="*/ 1095 w 2040"/>
              <a:gd name="T37" fmla="*/ 80 h 2300"/>
              <a:gd name="T38" fmla="*/ 1095 w 2040"/>
              <a:gd name="T39" fmla="*/ 80 h 2300"/>
              <a:gd name="T40" fmla="*/ 1019 w 2040"/>
              <a:gd name="T41" fmla="*/ 60 h 2300"/>
              <a:gd name="T42" fmla="*/ 1019 w 2040"/>
              <a:gd name="T43" fmla="*/ 2299 h 2300"/>
              <a:gd name="T44" fmla="*/ 1019 w 2040"/>
              <a:gd name="T45" fmla="*/ 2299 h 2300"/>
              <a:gd name="T46" fmla="*/ 917 w 2040"/>
              <a:gd name="T47" fmla="*/ 2271 h 2300"/>
              <a:gd name="T48" fmla="*/ 101 w 2040"/>
              <a:gd name="T49" fmla="*/ 1800 h 2300"/>
              <a:gd name="T50" fmla="*/ 101 w 2040"/>
              <a:gd name="T51" fmla="*/ 1800 h 2300"/>
              <a:gd name="T52" fmla="*/ 0 w 2040"/>
              <a:gd name="T53" fmla="*/ 1624 h 2300"/>
              <a:gd name="T54" fmla="*/ 0 w 2040"/>
              <a:gd name="T55" fmla="*/ 684 h 2300"/>
              <a:gd name="T56" fmla="*/ 0 w 2040"/>
              <a:gd name="T57" fmla="*/ 684 h 2300"/>
              <a:gd name="T58" fmla="*/ 101 w 2040"/>
              <a:gd name="T59" fmla="*/ 507 h 2300"/>
              <a:gd name="T60" fmla="*/ 917 w 2040"/>
              <a:gd name="T61" fmla="*/ 36 h 2300"/>
              <a:gd name="T62" fmla="*/ 917 w 2040"/>
              <a:gd name="T63" fmla="*/ 36 h 2300"/>
              <a:gd name="T64" fmla="*/ 1121 w 2040"/>
              <a:gd name="T65" fmla="*/ 36 h 2300"/>
              <a:gd name="T66" fmla="*/ 1937 w 2040"/>
              <a:gd name="T67" fmla="*/ 507 h 2300"/>
              <a:gd name="T68" fmla="*/ 1937 w 2040"/>
              <a:gd name="T69" fmla="*/ 507 h 2300"/>
              <a:gd name="T70" fmla="*/ 2039 w 2040"/>
              <a:gd name="T71" fmla="*/ 684 h 2300"/>
              <a:gd name="T72" fmla="*/ 2039 w 2040"/>
              <a:gd name="T73" fmla="*/ 1624 h 2300"/>
              <a:gd name="T74" fmla="*/ 2039 w 2040"/>
              <a:gd name="T75" fmla="*/ 1624 h 2300"/>
              <a:gd name="T76" fmla="*/ 1937 w 2040"/>
              <a:gd name="T77" fmla="*/ 1800 h 2300"/>
              <a:gd name="T78" fmla="*/ 1121 w 2040"/>
              <a:gd name="T79" fmla="*/ 2271 h 2300"/>
              <a:gd name="T80" fmla="*/ 1121 w 2040"/>
              <a:gd name="T81" fmla="*/ 2271 h 2300"/>
              <a:gd name="T82" fmla="*/ 1019 w 2040"/>
              <a:gd name="T83" fmla="*/ 2299 h 2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40" h="2300">
                <a:moveTo>
                  <a:pt x="1019" y="60"/>
                </a:moveTo>
                <a:lnTo>
                  <a:pt x="1019" y="60"/>
                </a:lnTo>
                <a:cubicBezTo>
                  <a:pt x="992" y="60"/>
                  <a:pt x="966" y="66"/>
                  <a:pt x="943" y="80"/>
                </a:cubicBezTo>
                <a:lnTo>
                  <a:pt x="127" y="551"/>
                </a:lnTo>
                <a:lnTo>
                  <a:pt x="127" y="551"/>
                </a:lnTo>
                <a:cubicBezTo>
                  <a:pt x="80" y="578"/>
                  <a:pt x="50" y="629"/>
                  <a:pt x="50" y="684"/>
                </a:cubicBezTo>
                <a:lnTo>
                  <a:pt x="50" y="1624"/>
                </a:lnTo>
                <a:lnTo>
                  <a:pt x="50" y="1624"/>
                </a:lnTo>
                <a:cubicBezTo>
                  <a:pt x="50" y="1679"/>
                  <a:pt x="80" y="1730"/>
                  <a:pt x="127" y="1756"/>
                </a:cubicBezTo>
                <a:lnTo>
                  <a:pt x="943" y="2227"/>
                </a:lnTo>
                <a:lnTo>
                  <a:pt x="943" y="2227"/>
                </a:lnTo>
                <a:cubicBezTo>
                  <a:pt x="990" y="2255"/>
                  <a:pt x="1048" y="2255"/>
                  <a:pt x="1095" y="2227"/>
                </a:cubicBezTo>
                <a:lnTo>
                  <a:pt x="1911" y="1756"/>
                </a:lnTo>
                <a:lnTo>
                  <a:pt x="1911" y="1756"/>
                </a:lnTo>
                <a:cubicBezTo>
                  <a:pt x="1959" y="1730"/>
                  <a:pt x="1987" y="1679"/>
                  <a:pt x="1987" y="1624"/>
                </a:cubicBezTo>
                <a:lnTo>
                  <a:pt x="1987" y="684"/>
                </a:lnTo>
                <a:lnTo>
                  <a:pt x="1987" y="684"/>
                </a:lnTo>
                <a:cubicBezTo>
                  <a:pt x="1987" y="629"/>
                  <a:pt x="1959" y="578"/>
                  <a:pt x="1911" y="551"/>
                </a:cubicBezTo>
                <a:lnTo>
                  <a:pt x="1095" y="80"/>
                </a:lnTo>
                <a:lnTo>
                  <a:pt x="1095" y="80"/>
                </a:lnTo>
                <a:cubicBezTo>
                  <a:pt x="1072" y="66"/>
                  <a:pt x="1045" y="60"/>
                  <a:pt x="1019" y="60"/>
                </a:cubicBezTo>
                <a:close/>
                <a:moveTo>
                  <a:pt x="1019" y="2299"/>
                </a:moveTo>
                <a:lnTo>
                  <a:pt x="1019" y="2299"/>
                </a:lnTo>
                <a:cubicBezTo>
                  <a:pt x="984" y="2299"/>
                  <a:pt x="948" y="2290"/>
                  <a:pt x="917" y="2271"/>
                </a:cubicBezTo>
                <a:lnTo>
                  <a:pt x="101" y="1800"/>
                </a:lnTo>
                <a:lnTo>
                  <a:pt x="101" y="1800"/>
                </a:lnTo>
                <a:cubicBezTo>
                  <a:pt x="38" y="1764"/>
                  <a:pt x="0" y="1696"/>
                  <a:pt x="0" y="1624"/>
                </a:cubicBezTo>
                <a:lnTo>
                  <a:pt x="0" y="684"/>
                </a:lnTo>
                <a:lnTo>
                  <a:pt x="0" y="684"/>
                </a:lnTo>
                <a:cubicBezTo>
                  <a:pt x="0" y="611"/>
                  <a:pt x="38" y="543"/>
                  <a:pt x="101" y="507"/>
                </a:cubicBezTo>
                <a:lnTo>
                  <a:pt x="917" y="36"/>
                </a:lnTo>
                <a:lnTo>
                  <a:pt x="917" y="36"/>
                </a:lnTo>
                <a:cubicBezTo>
                  <a:pt x="980" y="0"/>
                  <a:pt x="1058" y="0"/>
                  <a:pt x="1121" y="36"/>
                </a:cubicBezTo>
                <a:lnTo>
                  <a:pt x="1937" y="507"/>
                </a:lnTo>
                <a:lnTo>
                  <a:pt x="1937" y="507"/>
                </a:lnTo>
                <a:cubicBezTo>
                  <a:pt x="2000" y="543"/>
                  <a:pt x="2039" y="611"/>
                  <a:pt x="2039" y="684"/>
                </a:cubicBezTo>
                <a:lnTo>
                  <a:pt x="2039" y="1624"/>
                </a:lnTo>
                <a:lnTo>
                  <a:pt x="2039" y="1624"/>
                </a:lnTo>
                <a:cubicBezTo>
                  <a:pt x="2039" y="1696"/>
                  <a:pt x="2000" y="1764"/>
                  <a:pt x="1937" y="1800"/>
                </a:cubicBezTo>
                <a:lnTo>
                  <a:pt x="1121" y="2271"/>
                </a:lnTo>
                <a:lnTo>
                  <a:pt x="1121" y="2271"/>
                </a:lnTo>
                <a:cubicBezTo>
                  <a:pt x="1089" y="2290"/>
                  <a:pt x="1054" y="2299"/>
                  <a:pt x="1019" y="229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0" name="Freeform 2">
            <a:extLst>
              <a:ext uri="{FF2B5EF4-FFF2-40B4-BE49-F238E27FC236}">
                <a16:creationId xmlns:a16="http://schemas.microsoft.com/office/drawing/2014/main" id="{811CC4EB-A51A-314A-9BB4-D55FEFA63C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9982" y="2060265"/>
            <a:ext cx="1271772" cy="1433834"/>
          </a:xfrm>
          <a:custGeom>
            <a:avLst/>
            <a:gdLst>
              <a:gd name="T0" fmla="*/ 1019 w 2040"/>
              <a:gd name="T1" fmla="*/ 60 h 2300"/>
              <a:gd name="T2" fmla="*/ 1019 w 2040"/>
              <a:gd name="T3" fmla="*/ 60 h 2300"/>
              <a:gd name="T4" fmla="*/ 943 w 2040"/>
              <a:gd name="T5" fmla="*/ 80 h 2300"/>
              <a:gd name="T6" fmla="*/ 127 w 2040"/>
              <a:gd name="T7" fmla="*/ 551 h 2300"/>
              <a:gd name="T8" fmla="*/ 127 w 2040"/>
              <a:gd name="T9" fmla="*/ 551 h 2300"/>
              <a:gd name="T10" fmla="*/ 51 w 2040"/>
              <a:gd name="T11" fmla="*/ 684 h 2300"/>
              <a:gd name="T12" fmla="*/ 51 w 2040"/>
              <a:gd name="T13" fmla="*/ 1624 h 2300"/>
              <a:gd name="T14" fmla="*/ 51 w 2040"/>
              <a:gd name="T15" fmla="*/ 1624 h 2300"/>
              <a:gd name="T16" fmla="*/ 127 w 2040"/>
              <a:gd name="T17" fmla="*/ 1756 h 2300"/>
              <a:gd name="T18" fmla="*/ 943 w 2040"/>
              <a:gd name="T19" fmla="*/ 2227 h 2300"/>
              <a:gd name="T20" fmla="*/ 943 w 2040"/>
              <a:gd name="T21" fmla="*/ 2227 h 2300"/>
              <a:gd name="T22" fmla="*/ 1096 w 2040"/>
              <a:gd name="T23" fmla="*/ 2227 h 2300"/>
              <a:gd name="T24" fmla="*/ 1911 w 2040"/>
              <a:gd name="T25" fmla="*/ 1756 h 2300"/>
              <a:gd name="T26" fmla="*/ 1911 w 2040"/>
              <a:gd name="T27" fmla="*/ 1756 h 2300"/>
              <a:gd name="T28" fmla="*/ 1988 w 2040"/>
              <a:gd name="T29" fmla="*/ 1624 h 2300"/>
              <a:gd name="T30" fmla="*/ 1988 w 2040"/>
              <a:gd name="T31" fmla="*/ 684 h 2300"/>
              <a:gd name="T32" fmla="*/ 1988 w 2040"/>
              <a:gd name="T33" fmla="*/ 684 h 2300"/>
              <a:gd name="T34" fmla="*/ 1911 w 2040"/>
              <a:gd name="T35" fmla="*/ 551 h 2300"/>
              <a:gd name="T36" fmla="*/ 1096 w 2040"/>
              <a:gd name="T37" fmla="*/ 80 h 2300"/>
              <a:gd name="T38" fmla="*/ 1096 w 2040"/>
              <a:gd name="T39" fmla="*/ 80 h 2300"/>
              <a:gd name="T40" fmla="*/ 1019 w 2040"/>
              <a:gd name="T41" fmla="*/ 60 h 2300"/>
              <a:gd name="T42" fmla="*/ 1019 w 2040"/>
              <a:gd name="T43" fmla="*/ 2299 h 2300"/>
              <a:gd name="T44" fmla="*/ 1019 w 2040"/>
              <a:gd name="T45" fmla="*/ 2299 h 2300"/>
              <a:gd name="T46" fmla="*/ 917 w 2040"/>
              <a:gd name="T47" fmla="*/ 2271 h 2300"/>
              <a:gd name="T48" fmla="*/ 101 w 2040"/>
              <a:gd name="T49" fmla="*/ 1800 h 2300"/>
              <a:gd name="T50" fmla="*/ 101 w 2040"/>
              <a:gd name="T51" fmla="*/ 1800 h 2300"/>
              <a:gd name="T52" fmla="*/ 0 w 2040"/>
              <a:gd name="T53" fmla="*/ 1624 h 2300"/>
              <a:gd name="T54" fmla="*/ 0 w 2040"/>
              <a:gd name="T55" fmla="*/ 684 h 2300"/>
              <a:gd name="T56" fmla="*/ 0 w 2040"/>
              <a:gd name="T57" fmla="*/ 684 h 2300"/>
              <a:gd name="T58" fmla="*/ 101 w 2040"/>
              <a:gd name="T59" fmla="*/ 507 h 2300"/>
              <a:gd name="T60" fmla="*/ 917 w 2040"/>
              <a:gd name="T61" fmla="*/ 36 h 2300"/>
              <a:gd name="T62" fmla="*/ 917 w 2040"/>
              <a:gd name="T63" fmla="*/ 36 h 2300"/>
              <a:gd name="T64" fmla="*/ 1121 w 2040"/>
              <a:gd name="T65" fmla="*/ 36 h 2300"/>
              <a:gd name="T66" fmla="*/ 1937 w 2040"/>
              <a:gd name="T67" fmla="*/ 507 h 2300"/>
              <a:gd name="T68" fmla="*/ 1937 w 2040"/>
              <a:gd name="T69" fmla="*/ 507 h 2300"/>
              <a:gd name="T70" fmla="*/ 2039 w 2040"/>
              <a:gd name="T71" fmla="*/ 684 h 2300"/>
              <a:gd name="T72" fmla="*/ 2039 w 2040"/>
              <a:gd name="T73" fmla="*/ 1624 h 2300"/>
              <a:gd name="T74" fmla="*/ 2039 w 2040"/>
              <a:gd name="T75" fmla="*/ 1624 h 2300"/>
              <a:gd name="T76" fmla="*/ 1937 w 2040"/>
              <a:gd name="T77" fmla="*/ 1800 h 2300"/>
              <a:gd name="T78" fmla="*/ 1121 w 2040"/>
              <a:gd name="T79" fmla="*/ 2271 h 2300"/>
              <a:gd name="T80" fmla="*/ 1121 w 2040"/>
              <a:gd name="T81" fmla="*/ 2271 h 2300"/>
              <a:gd name="T82" fmla="*/ 1019 w 2040"/>
              <a:gd name="T83" fmla="*/ 2299 h 2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40" h="2300">
                <a:moveTo>
                  <a:pt x="1019" y="60"/>
                </a:moveTo>
                <a:lnTo>
                  <a:pt x="1019" y="60"/>
                </a:lnTo>
                <a:cubicBezTo>
                  <a:pt x="992" y="60"/>
                  <a:pt x="966" y="66"/>
                  <a:pt x="943" y="80"/>
                </a:cubicBezTo>
                <a:lnTo>
                  <a:pt x="127" y="551"/>
                </a:lnTo>
                <a:lnTo>
                  <a:pt x="127" y="551"/>
                </a:lnTo>
                <a:cubicBezTo>
                  <a:pt x="80" y="578"/>
                  <a:pt x="51" y="629"/>
                  <a:pt x="51" y="684"/>
                </a:cubicBezTo>
                <a:lnTo>
                  <a:pt x="51" y="1624"/>
                </a:lnTo>
                <a:lnTo>
                  <a:pt x="51" y="1624"/>
                </a:lnTo>
                <a:cubicBezTo>
                  <a:pt x="51" y="1679"/>
                  <a:pt x="80" y="1730"/>
                  <a:pt x="127" y="1756"/>
                </a:cubicBezTo>
                <a:lnTo>
                  <a:pt x="943" y="2227"/>
                </a:lnTo>
                <a:lnTo>
                  <a:pt x="943" y="2227"/>
                </a:lnTo>
                <a:cubicBezTo>
                  <a:pt x="990" y="2255"/>
                  <a:pt x="1049" y="2255"/>
                  <a:pt x="1096" y="2227"/>
                </a:cubicBezTo>
                <a:lnTo>
                  <a:pt x="1911" y="1756"/>
                </a:lnTo>
                <a:lnTo>
                  <a:pt x="1911" y="1756"/>
                </a:lnTo>
                <a:cubicBezTo>
                  <a:pt x="1959" y="1730"/>
                  <a:pt x="1988" y="1679"/>
                  <a:pt x="1988" y="1624"/>
                </a:cubicBezTo>
                <a:lnTo>
                  <a:pt x="1988" y="684"/>
                </a:lnTo>
                <a:lnTo>
                  <a:pt x="1988" y="684"/>
                </a:lnTo>
                <a:cubicBezTo>
                  <a:pt x="1988" y="629"/>
                  <a:pt x="1959" y="578"/>
                  <a:pt x="1911" y="551"/>
                </a:cubicBezTo>
                <a:lnTo>
                  <a:pt x="1096" y="80"/>
                </a:lnTo>
                <a:lnTo>
                  <a:pt x="1096" y="80"/>
                </a:lnTo>
                <a:cubicBezTo>
                  <a:pt x="1072" y="66"/>
                  <a:pt x="1046" y="60"/>
                  <a:pt x="1019" y="60"/>
                </a:cubicBezTo>
                <a:close/>
                <a:moveTo>
                  <a:pt x="1019" y="2299"/>
                </a:moveTo>
                <a:lnTo>
                  <a:pt x="1019" y="2299"/>
                </a:lnTo>
                <a:cubicBezTo>
                  <a:pt x="984" y="2299"/>
                  <a:pt x="949" y="2290"/>
                  <a:pt x="917" y="2271"/>
                </a:cubicBezTo>
                <a:lnTo>
                  <a:pt x="101" y="1800"/>
                </a:lnTo>
                <a:lnTo>
                  <a:pt x="101" y="1800"/>
                </a:lnTo>
                <a:cubicBezTo>
                  <a:pt x="38" y="1764"/>
                  <a:pt x="0" y="1696"/>
                  <a:pt x="0" y="1624"/>
                </a:cubicBezTo>
                <a:lnTo>
                  <a:pt x="0" y="684"/>
                </a:lnTo>
                <a:lnTo>
                  <a:pt x="0" y="684"/>
                </a:lnTo>
                <a:cubicBezTo>
                  <a:pt x="0" y="611"/>
                  <a:pt x="38" y="543"/>
                  <a:pt x="101" y="507"/>
                </a:cubicBezTo>
                <a:lnTo>
                  <a:pt x="917" y="36"/>
                </a:lnTo>
                <a:lnTo>
                  <a:pt x="917" y="36"/>
                </a:lnTo>
                <a:cubicBezTo>
                  <a:pt x="980" y="0"/>
                  <a:pt x="1059" y="0"/>
                  <a:pt x="1121" y="36"/>
                </a:cubicBezTo>
                <a:lnTo>
                  <a:pt x="1937" y="507"/>
                </a:lnTo>
                <a:lnTo>
                  <a:pt x="1937" y="507"/>
                </a:lnTo>
                <a:cubicBezTo>
                  <a:pt x="2000" y="543"/>
                  <a:pt x="2039" y="611"/>
                  <a:pt x="2039" y="684"/>
                </a:cubicBezTo>
                <a:lnTo>
                  <a:pt x="2039" y="1624"/>
                </a:lnTo>
                <a:lnTo>
                  <a:pt x="2039" y="1624"/>
                </a:lnTo>
                <a:cubicBezTo>
                  <a:pt x="2039" y="1696"/>
                  <a:pt x="2000" y="1764"/>
                  <a:pt x="1937" y="1800"/>
                </a:cubicBezTo>
                <a:lnTo>
                  <a:pt x="1121" y="2271"/>
                </a:lnTo>
                <a:lnTo>
                  <a:pt x="1121" y="2271"/>
                </a:lnTo>
                <a:cubicBezTo>
                  <a:pt x="1090" y="2290"/>
                  <a:pt x="1054" y="2299"/>
                  <a:pt x="1019" y="229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1" name="Freeform 3">
            <a:extLst>
              <a:ext uri="{FF2B5EF4-FFF2-40B4-BE49-F238E27FC236}">
                <a16:creationId xmlns:a16="http://schemas.microsoft.com/office/drawing/2014/main" id="{424A3416-478B-5547-8EBF-98B96B1FF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91297" y="2060265"/>
            <a:ext cx="1271772" cy="1433834"/>
          </a:xfrm>
          <a:custGeom>
            <a:avLst/>
            <a:gdLst>
              <a:gd name="T0" fmla="*/ 1021 w 2041"/>
              <a:gd name="T1" fmla="*/ 61 h 2301"/>
              <a:gd name="T2" fmla="*/ 1021 w 2041"/>
              <a:gd name="T3" fmla="*/ 61 h 2301"/>
              <a:gd name="T4" fmla="*/ 944 w 2041"/>
              <a:gd name="T5" fmla="*/ 81 h 2301"/>
              <a:gd name="T6" fmla="*/ 944 w 2041"/>
              <a:gd name="T7" fmla="*/ 81 h 2301"/>
              <a:gd name="T8" fmla="*/ 128 w 2041"/>
              <a:gd name="T9" fmla="*/ 552 h 2301"/>
              <a:gd name="T10" fmla="*/ 128 w 2041"/>
              <a:gd name="T11" fmla="*/ 552 h 2301"/>
              <a:gd name="T12" fmla="*/ 52 w 2041"/>
              <a:gd name="T13" fmla="*/ 685 h 2301"/>
              <a:gd name="T14" fmla="*/ 52 w 2041"/>
              <a:gd name="T15" fmla="*/ 1625 h 2301"/>
              <a:gd name="T16" fmla="*/ 52 w 2041"/>
              <a:gd name="T17" fmla="*/ 1625 h 2301"/>
              <a:gd name="T18" fmla="*/ 128 w 2041"/>
              <a:gd name="T19" fmla="*/ 1757 h 2301"/>
              <a:gd name="T20" fmla="*/ 944 w 2041"/>
              <a:gd name="T21" fmla="*/ 2228 h 2301"/>
              <a:gd name="T22" fmla="*/ 944 w 2041"/>
              <a:gd name="T23" fmla="*/ 2228 h 2301"/>
              <a:gd name="T24" fmla="*/ 1097 w 2041"/>
              <a:gd name="T25" fmla="*/ 2228 h 2301"/>
              <a:gd name="T26" fmla="*/ 1912 w 2041"/>
              <a:gd name="T27" fmla="*/ 1757 h 2301"/>
              <a:gd name="T28" fmla="*/ 1912 w 2041"/>
              <a:gd name="T29" fmla="*/ 1757 h 2301"/>
              <a:gd name="T30" fmla="*/ 1989 w 2041"/>
              <a:gd name="T31" fmla="*/ 1625 h 2301"/>
              <a:gd name="T32" fmla="*/ 1989 w 2041"/>
              <a:gd name="T33" fmla="*/ 685 h 2301"/>
              <a:gd name="T34" fmla="*/ 1989 w 2041"/>
              <a:gd name="T35" fmla="*/ 685 h 2301"/>
              <a:gd name="T36" fmla="*/ 1912 w 2041"/>
              <a:gd name="T37" fmla="*/ 552 h 2301"/>
              <a:gd name="T38" fmla="*/ 1097 w 2041"/>
              <a:gd name="T39" fmla="*/ 81 h 2301"/>
              <a:gd name="T40" fmla="*/ 1097 w 2041"/>
              <a:gd name="T41" fmla="*/ 81 h 2301"/>
              <a:gd name="T42" fmla="*/ 1021 w 2041"/>
              <a:gd name="T43" fmla="*/ 61 h 2301"/>
              <a:gd name="T44" fmla="*/ 1021 w 2041"/>
              <a:gd name="T45" fmla="*/ 2300 h 2301"/>
              <a:gd name="T46" fmla="*/ 1021 w 2041"/>
              <a:gd name="T47" fmla="*/ 2300 h 2301"/>
              <a:gd name="T48" fmla="*/ 918 w 2041"/>
              <a:gd name="T49" fmla="*/ 2272 h 2301"/>
              <a:gd name="T50" fmla="*/ 103 w 2041"/>
              <a:gd name="T51" fmla="*/ 1801 h 2301"/>
              <a:gd name="T52" fmla="*/ 103 w 2041"/>
              <a:gd name="T53" fmla="*/ 1801 h 2301"/>
              <a:gd name="T54" fmla="*/ 0 w 2041"/>
              <a:gd name="T55" fmla="*/ 1625 h 2301"/>
              <a:gd name="T56" fmla="*/ 0 w 2041"/>
              <a:gd name="T57" fmla="*/ 685 h 2301"/>
              <a:gd name="T58" fmla="*/ 0 w 2041"/>
              <a:gd name="T59" fmla="*/ 685 h 2301"/>
              <a:gd name="T60" fmla="*/ 103 w 2041"/>
              <a:gd name="T61" fmla="*/ 508 h 2301"/>
              <a:gd name="T62" fmla="*/ 918 w 2041"/>
              <a:gd name="T63" fmla="*/ 37 h 2301"/>
              <a:gd name="T64" fmla="*/ 918 w 2041"/>
              <a:gd name="T65" fmla="*/ 37 h 2301"/>
              <a:gd name="T66" fmla="*/ 918 w 2041"/>
              <a:gd name="T67" fmla="*/ 37 h 2301"/>
              <a:gd name="T68" fmla="*/ 1122 w 2041"/>
              <a:gd name="T69" fmla="*/ 37 h 2301"/>
              <a:gd name="T70" fmla="*/ 1938 w 2041"/>
              <a:gd name="T71" fmla="*/ 508 h 2301"/>
              <a:gd name="T72" fmla="*/ 1938 w 2041"/>
              <a:gd name="T73" fmla="*/ 508 h 2301"/>
              <a:gd name="T74" fmla="*/ 2040 w 2041"/>
              <a:gd name="T75" fmla="*/ 685 h 2301"/>
              <a:gd name="T76" fmla="*/ 2040 w 2041"/>
              <a:gd name="T77" fmla="*/ 1625 h 2301"/>
              <a:gd name="T78" fmla="*/ 2040 w 2041"/>
              <a:gd name="T79" fmla="*/ 1625 h 2301"/>
              <a:gd name="T80" fmla="*/ 1938 w 2041"/>
              <a:gd name="T81" fmla="*/ 1801 h 2301"/>
              <a:gd name="T82" fmla="*/ 1122 w 2041"/>
              <a:gd name="T83" fmla="*/ 2272 h 2301"/>
              <a:gd name="T84" fmla="*/ 1122 w 2041"/>
              <a:gd name="T85" fmla="*/ 2272 h 2301"/>
              <a:gd name="T86" fmla="*/ 1021 w 2041"/>
              <a:gd name="T87" fmla="*/ 2300 h 2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41" h="2301">
                <a:moveTo>
                  <a:pt x="1021" y="61"/>
                </a:moveTo>
                <a:lnTo>
                  <a:pt x="1021" y="61"/>
                </a:lnTo>
                <a:cubicBezTo>
                  <a:pt x="994" y="61"/>
                  <a:pt x="968" y="67"/>
                  <a:pt x="944" y="81"/>
                </a:cubicBezTo>
                <a:lnTo>
                  <a:pt x="944" y="81"/>
                </a:lnTo>
                <a:lnTo>
                  <a:pt x="128" y="552"/>
                </a:lnTo>
                <a:lnTo>
                  <a:pt x="128" y="552"/>
                </a:lnTo>
                <a:cubicBezTo>
                  <a:pt x="81" y="579"/>
                  <a:pt x="52" y="630"/>
                  <a:pt x="52" y="685"/>
                </a:cubicBezTo>
                <a:lnTo>
                  <a:pt x="52" y="1625"/>
                </a:lnTo>
                <a:lnTo>
                  <a:pt x="52" y="1625"/>
                </a:lnTo>
                <a:cubicBezTo>
                  <a:pt x="52" y="1680"/>
                  <a:pt x="81" y="1731"/>
                  <a:pt x="128" y="1757"/>
                </a:cubicBezTo>
                <a:lnTo>
                  <a:pt x="944" y="2228"/>
                </a:lnTo>
                <a:lnTo>
                  <a:pt x="944" y="2228"/>
                </a:lnTo>
                <a:cubicBezTo>
                  <a:pt x="991" y="2256"/>
                  <a:pt x="1050" y="2256"/>
                  <a:pt x="1097" y="2228"/>
                </a:cubicBezTo>
                <a:lnTo>
                  <a:pt x="1912" y="1757"/>
                </a:lnTo>
                <a:lnTo>
                  <a:pt x="1912" y="1757"/>
                </a:lnTo>
                <a:cubicBezTo>
                  <a:pt x="1960" y="1731"/>
                  <a:pt x="1989" y="1680"/>
                  <a:pt x="1989" y="1625"/>
                </a:cubicBezTo>
                <a:lnTo>
                  <a:pt x="1989" y="685"/>
                </a:lnTo>
                <a:lnTo>
                  <a:pt x="1989" y="685"/>
                </a:lnTo>
                <a:cubicBezTo>
                  <a:pt x="1989" y="630"/>
                  <a:pt x="1960" y="579"/>
                  <a:pt x="1912" y="552"/>
                </a:cubicBezTo>
                <a:lnTo>
                  <a:pt x="1097" y="81"/>
                </a:lnTo>
                <a:lnTo>
                  <a:pt x="1097" y="81"/>
                </a:lnTo>
                <a:cubicBezTo>
                  <a:pt x="1073" y="67"/>
                  <a:pt x="1047" y="61"/>
                  <a:pt x="1021" y="61"/>
                </a:cubicBezTo>
                <a:close/>
                <a:moveTo>
                  <a:pt x="1021" y="2300"/>
                </a:moveTo>
                <a:lnTo>
                  <a:pt x="1021" y="2300"/>
                </a:lnTo>
                <a:cubicBezTo>
                  <a:pt x="985" y="2300"/>
                  <a:pt x="950" y="2291"/>
                  <a:pt x="918" y="2272"/>
                </a:cubicBezTo>
                <a:lnTo>
                  <a:pt x="103" y="1801"/>
                </a:lnTo>
                <a:lnTo>
                  <a:pt x="103" y="1801"/>
                </a:lnTo>
                <a:cubicBezTo>
                  <a:pt x="40" y="1765"/>
                  <a:pt x="0" y="1697"/>
                  <a:pt x="0" y="1625"/>
                </a:cubicBezTo>
                <a:lnTo>
                  <a:pt x="0" y="685"/>
                </a:lnTo>
                <a:lnTo>
                  <a:pt x="0" y="685"/>
                </a:lnTo>
                <a:cubicBezTo>
                  <a:pt x="0" y="612"/>
                  <a:pt x="40" y="544"/>
                  <a:pt x="103" y="508"/>
                </a:cubicBezTo>
                <a:lnTo>
                  <a:pt x="918" y="37"/>
                </a:lnTo>
                <a:lnTo>
                  <a:pt x="918" y="37"/>
                </a:lnTo>
                <a:lnTo>
                  <a:pt x="918" y="37"/>
                </a:lnTo>
                <a:cubicBezTo>
                  <a:pt x="981" y="0"/>
                  <a:pt x="1060" y="0"/>
                  <a:pt x="1122" y="37"/>
                </a:cubicBezTo>
                <a:lnTo>
                  <a:pt x="1938" y="508"/>
                </a:lnTo>
                <a:lnTo>
                  <a:pt x="1938" y="508"/>
                </a:lnTo>
                <a:cubicBezTo>
                  <a:pt x="2001" y="544"/>
                  <a:pt x="2040" y="612"/>
                  <a:pt x="2040" y="685"/>
                </a:cubicBezTo>
                <a:lnTo>
                  <a:pt x="2040" y="1625"/>
                </a:lnTo>
                <a:lnTo>
                  <a:pt x="2040" y="1625"/>
                </a:lnTo>
                <a:cubicBezTo>
                  <a:pt x="2040" y="1697"/>
                  <a:pt x="2001" y="1765"/>
                  <a:pt x="1938" y="1801"/>
                </a:cubicBezTo>
                <a:lnTo>
                  <a:pt x="1122" y="2272"/>
                </a:lnTo>
                <a:lnTo>
                  <a:pt x="1122" y="2272"/>
                </a:lnTo>
                <a:cubicBezTo>
                  <a:pt x="1091" y="2291"/>
                  <a:pt x="1056" y="2300"/>
                  <a:pt x="1021" y="230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AAA3EB23-7F94-3A4E-8DA1-814B30FE30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5361" y="2060265"/>
            <a:ext cx="1271774" cy="1433834"/>
          </a:xfrm>
          <a:custGeom>
            <a:avLst/>
            <a:gdLst>
              <a:gd name="T0" fmla="*/ 1020 w 2041"/>
              <a:gd name="T1" fmla="*/ 61 h 2301"/>
              <a:gd name="T2" fmla="*/ 1020 w 2041"/>
              <a:gd name="T3" fmla="*/ 61 h 2301"/>
              <a:gd name="T4" fmla="*/ 944 w 2041"/>
              <a:gd name="T5" fmla="*/ 81 h 2301"/>
              <a:gd name="T6" fmla="*/ 944 w 2041"/>
              <a:gd name="T7" fmla="*/ 81 h 2301"/>
              <a:gd name="T8" fmla="*/ 128 w 2041"/>
              <a:gd name="T9" fmla="*/ 552 h 2301"/>
              <a:gd name="T10" fmla="*/ 128 w 2041"/>
              <a:gd name="T11" fmla="*/ 552 h 2301"/>
              <a:gd name="T12" fmla="*/ 51 w 2041"/>
              <a:gd name="T13" fmla="*/ 685 h 2301"/>
              <a:gd name="T14" fmla="*/ 51 w 2041"/>
              <a:gd name="T15" fmla="*/ 1625 h 2301"/>
              <a:gd name="T16" fmla="*/ 51 w 2041"/>
              <a:gd name="T17" fmla="*/ 1625 h 2301"/>
              <a:gd name="T18" fmla="*/ 128 w 2041"/>
              <a:gd name="T19" fmla="*/ 1757 h 2301"/>
              <a:gd name="T20" fmla="*/ 944 w 2041"/>
              <a:gd name="T21" fmla="*/ 2228 h 2301"/>
              <a:gd name="T22" fmla="*/ 944 w 2041"/>
              <a:gd name="T23" fmla="*/ 2228 h 2301"/>
              <a:gd name="T24" fmla="*/ 1096 w 2041"/>
              <a:gd name="T25" fmla="*/ 2228 h 2301"/>
              <a:gd name="T26" fmla="*/ 1912 w 2041"/>
              <a:gd name="T27" fmla="*/ 1757 h 2301"/>
              <a:gd name="T28" fmla="*/ 1912 w 2041"/>
              <a:gd name="T29" fmla="*/ 1757 h 2301"/>
              <a:gd name="T30" fmla="*/ 1988 w 2041"/>
              <a:gd name="T31" fmla="*/ 1625 h 2301"/>
              <a:gd name="T32" fmla="*/ 1988 w 2041"/>
              <a:gd name="T33" fmla="*/ 685 h 2301"/>
              <a:gd name="T34" fmla="*/ 1988 w 2041"/>
              <a:gd name="T35" fmla="*/ 685 h 2301"/>
              <a:gd name="T36" fmla="*/ 1912 w 2041"/>
              <a:gd name="T37" fmla="*/ 552 h 2301"/>
              <a:gd name="T38" fmla="*/ 1096 w 2041"/>
              <a:gd name="T39" fmla="*/ 81 h 2301"/>
              <a:gd name="T40" fmla="*/ 1096 w 2041"/>
              <a:gd name="T41" fmla="*/ 81 h 2301"/>
              <a:gd name="T42" fmla="*/ 1020 w 2041"/>
              <a:gd name="T43" fmla="*/ 61 h 2301"/>
              <a:gd name="T44" fmla="*/ 1020 w 2041"/>
              <a:gd name="T45" fmla="*/ 2300 h 2301"/>
              <a:gd name="T46" fmla="*/ 1020 w 2041"/>
              <a:gd name="T47" fmla="*/ 2300 h 2301"/>
              <a:gd name="T48" fmla="*/ 918 w 2041"/>
              <a:gd name="T49" fmla="*/ 2272 h 2301"/>
              <a:gd name="T50" fmla="*/ 102 w 2041"/>
              <a:gd name="T51" fmla="*/ 1801 h 2301"/>
              <a:gd name="T52" fmla="*/ 102 w 2041"/>
              <a:gd name="T53" fmla="*/ 1801 h 2301"/>
              <a:gd name="T54" fmla="*/ 0 w 2041"/>
              <a:gd name="T55" fmla="*/ 1625 h 2301"/>
              <a:gd name="T56" fmla="*/ 0 w 2041"/>
              <a:gd name="T57" fmla="*/ 685 h 2301"/>
              <a:gd name="T58" fmla="*/ 0 w 2041"/>
              <a:gd name="T59" fmla="*/ 685 h 2301"/>
              <a:gd name="T60" fmla="*/ 102 w 2041"/>
              <a:gd name="T61" fmla="*/ 508 h 2301"/>
              <a:gd name="T62" fmla="*/ 918 w 2041"/>
              <a:gd name="T63" fmla="*/ 37 h 2301"/>
              <a:gd name="T64" fmla="*/ 918 w 2041"/>
              <a:gd name="T65" fmla="*/ 37 h 2301"/>
              <a:gd name="T66" fmla="*/ 918 w 2041"/>
              <a:gd name="T67" fmla="*/ 37 h 2301"/>
              <a:gd name="T68" fmla="*/ 1122 w 2041"/>
              <a:gd name="T69" fmla="*/ 37 h 2301"/>
              <a:gd name="T70" fmla="*/ 1937 w 2041"/>
              <a:gd name="T71" fmla="*/ 508 h 2301"/>
              <a:gd name="T72" fmla="*/ 1937 w 2041"/>
              <a:gd name="T73" fmla="*/ 508 h 2301"/>
              <a:gd name="T74" fmla="*/ 2040 w 2041"/>
              <a:gd name="T75" fmla="*/ 685 h 2301"/>
              <a:gd name="T76" fmla="*/ 2040 w 2041"/>
              <a:gd name="T77" fmla="*/ 1625 h 2301"/>
              <a:gd name="T78" fmla="*/ 2040 w 2041"/>
              <a:gd name="T79" fmla="*/ 1625 h 2301"/>
              <a:gd name="T80" fmla="*/ 1937 w 2041"/>
              <a:gd name="T81" fmla="*/ 1801 h 2301"/>
              <a:gd name="T82" fmla="*/ 1122 w 2041"/>
              <a:gd name="T83" fmla="*/ 2272 h 2301"/>
              <a:gd name="T84" fmla="*/ 1122 w 2041"/>
              <a:gd name="T85" fmla="*/ 2272 h 2301"/>
              <a:gd name="T86" fmla="*/ 1020 w 2041"/>
              <a:gd name="T87" fmla="*/ 2300 h 2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41" h="2301">
                <a:moveTo>
                  <a:pt x="1020" y="61"/>
                </a:moveTo>
                <a:lnTo>
                  <a:pt x="1020" y="61"/>
                </a:lnTo>
                <a:cubicBezTo>
                  <a:pt x="993" y="61"/>
                  <a:pt x="967" y="67"/>
                  <a:pt x="944" y="81"/>
                </a:cubicBezTo>
                <a:lnTo>
                  <a:pt x="944" y="81"/>
                </a:lnTo>
                <a:lnTo>
                  <a:pt x="128" y="552"/>
                </a:lnTo>
                <a:lnTo>
                  <a:pt x="128" y="552"/>
                </a:lnTo>
                <a:cubicBezTo>
                  <a:pt x="81" y="579"/>
                  <a:pt x="51" y="630"/>
                  <a:pt x="51" y="685"/>
                </a:cubicBezTo>
                <a:lnTo>
                  <a:pt x="51" y="1625"/>
                </a:lnTo>
                <a:lnTo>
                  <a:pt x="51" y="1625"/>
                </a:lnTo>
                <a:cubicBezTo>
                  <a:pt x="51" y="1680"/>
                  <a:pt x="81" y="1731"/>
                  <a:pt x="128" y="1757"/>
                </a:cubicBezTo>
                <a:lnTo>
                  <a:pt x="944" y="2228"/>
                </a:lnTo>
                <a:lnTo>
                  <a:pt x="944" y="2228"/>
                </a:lnTo>
                <a:cubicBezTo>
                  <a:pt x="991" y="2256"/>
                  <a:pt x="1049" y="2256"/>
                  <a:pt x="1096" y="2228"/>
                </a:cubicBezTo>
                <a:lnTo>
                  <a:pt x="1912" y="1757"/>
                </a:lnTo>
                <a:lnTo>
                  <a:pt x="1912" y="1757"/>
                </a:lnTo>
                <a:cubicBezTo>
                  <a:pt x="1959" y="1731"/>
                  <a:pt x="1988" y="1680"/>
                  <a:pt x="1988" y="1625"/>
                </a:cubicBezTo>
                <a:lnTo>
                  <a:pt x="1988" y="685"/>
                </a:lnTo>
                <a:lnTo>
                  <a:pt x="1988" y="685"/>
                </a:lnTo>
                <a:cubicBezTo>
                  <a:pt x="1988" y="630"/>
                  <a:pt x="1959" y="579"/>
                  <a:pt x="1912" y="552"/>
                </a:cubicBezTo>
                <a:lnTo>
                  <a:pt x="1096" y="81"/>
                </a:lnTo>
                <a:lnTo>
                  <a:pt x="1096" y="81"/>
                </a:lnTo>
                <a:cubicBezTo>
                  <a:pt x="1073" y="67"/>
                  <a:pt x="1046" y="61"/>
                  <a:pt x="1020" y="61"/>
                </a:cubicBezTo>
                <a:close/>
                <a:moveTo>
                  <a:pt x="1020" y="2300"/>
                </a:moveTo>
                <a:lnTo>
                  <a:pt x="1020" y="2300"/>
                </a:lnTo>
                <a:cubicBezTo>
                  <a:pt x="985" y="2300"/>
                  <a:pt x="949" y="2291"/>
                  <a:pt x="918" y="2272"/>
                </a:cubicBezTo>
                <a:lnTo>
                  <a:pt x="102" y="1801"/>
                </a:lnTo>
                <a:lnTo>
                  <a:pt x="102" y="1801"/>
                </a:lnTo>
                <a:cubicBezTo>
                  <a:pt x="39" y="1765"/>
                  <a:pt x="0" y="1697"/>
                  <a:pt x="0" y="1625"/>
                </a:cubicBezTo>
                <a:lnTo>
                  <a:pt x="0" y="685"/>
                </a:lnTo>
                <a:lnTo>
                  <a:pt x="0" y="685"/>
                </a:lnTo>
                <a:cubicBezTo>
                  <a:pt x="0" y="612"/>
                  <a:pt x="39" y="544"/>
                  <a:pt x="102" y="508"/>
                </a:cubicBezTo>
                <a:lnTo>
                  <a:pt x="918" y="37"/>
                </a:lnTo>
                <a:lnTo>
                  <a:pt x="918" y="37"/>
                </a:lnTo>
                <a:lnTo>
                  <a:pt x="918" y="37"/>
                </a:lnTo>
                <a:cubicBezTo>
                  <a:pt x="981" y="0"/>
                  <a:pt x="1059" y="0"/>
                  <a:pt x="1122" y="37"/>
                </a:cubicBezTo>
                <a:lnTo>
                  <a:pt x="1937" y="508"/>
                </a:lnTo>
                <a:lnTo>
                  <a:pt x="1937" y="508"/>
                </a:lnTo>
                <a:cubicBezTo>
                  <a:pt x="2000" y="544"/>
                  <a:pt x="2040" y="612"/>
                  <a:pt x="2040" y="685"/>
                </a:cubicBezTo>
                <a:lnTo>
                  <a:pt x="2040" y="1625"/>
                </a:lnTo>
                <a:lnTo>
                  <a:pt x="2040" y="1625"/>
                </a:lnTo>
                <a:cubicBezTo>
                  <a:pt x="2040" y="1697"/>
                  <a:pt x="2000" y="1765"/>
                  <a:pt x="1937" y="1801"/>
                </a:cubicBezTo>
                <a:lnTo>
                  <a:pt x="1122" y="2272"/>
                </a:lnTo>
                <a:lnTo>
                  <a:pt x="1122" y="2272"/>
                </a:lnTo>
                <a:cubicBezTo>
                  <a:pt x="1090" y="2291"/>
                  <a:pt x="1055" y="2300"/>
                  <a:pt x="1020" y="230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B95B206-23B2-F64A-AC02-E2B6E7106D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8" y="4083239"/>
            <a:ext cx="12188952" cy="29388"/>
          </a:xfrm>
          <a:prstGeom prst="rect">
            <a:avLst/>
          </a:prstGeom>
          <a:gradFill>
            <a:gsLst>
              <a:gs pos="15000">
                <a:schemeClr val="accent1"/>
              </a:gs>
              <a:gs pos="33000">
                <a:schemeClr val="accent2"/>
              </a:gs>
              <a:gs pos="66000">
                <a:schemeClr val="accent3"/>
              </a:gs>
              <a:gs pos="85000">
                <a:schemeClr val="accent4"/>
              </a:gs>
            </a:gsLst>
            <a:lin ang="0" scaled="0"/>
          </a:gra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8" name="Freeform 7">
            <a:extLst>
              <a:ext uri="{FF2B5EF4-FFF2-40B4-BE49-F238E27FC236}">
                <a16:creationId xmlns:a16="http://schemas.microsoft.com/office/drawing/2014/main" id="{A0296B10-5267-4845-B151-82818F4A7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2896" y="3968006"/>
            <a:ext cx="259854" cy="259854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9" name="Freeform 7">
            <a:extLst>
              <a:ext uri="{FF2B5EF4-FFF2-40B4-BE49-F238E27FC236}">
                <a16:creationId xmlns:a16="http://schemas.microsoft.com/office/drawing/2014/main" id="{5E16A826-516A-C248-B444-A314598A4C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5941" y="3968006"/>
            <a:ext cx="259854" cy="259854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0" name="Freeform 7">
            <a:extLst>
              <a:ext uri="{FF2B5EF4-FFF2-40B4-BE49-F238E27FC236}">
                <a16:creationId xmlns:a16="http://schemas.microsoft.com/office/drawing/2014/main" id="{8DCD2A15-DBD2-D341-84FC-F736224524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7256" y="3968006"/>
            <a:ext cx="259854" cy="259854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1" name="Freeform 7">
            <a:extLst>
              <a:ext uri="{FF2B5EF4-FFF2-40B4-BE49-F238E27FC236}">
                <a16:creationId xmlns:a16="http://schemas.microsoft.com/office/drawing/2014/main" id="{609F2806-9715-DC46-9076-5C29665F3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41321" y="3968006"/>
            <a:ext cx="259854" cy="259854"/>
          </a:xfrm>
          <a:custGeom>
            <a:avLst/>
            <a:gdLst>
              <a:gd name="T0" fmla="*/ 229 w 459"/>
              <a:gd name="T1" fmla="*/ 0 h 459"/>
              <a:gd name="T2" fmla="*/ 229 w 459"/>
              <a:gd name="T3" fmla="*/ 0 h 459"/>
              <a:gd name="T4" fmla="*/ 458 w 459"/>
              <a:gd name="T5" fmla="*/ 229 h 459"/>
              <a:gd name="T6" fmla="*/ 458 w 459"/>
              <a:gd name="T7" fmla="*/ 229 h 459"/>
              <a:gd name="T8" fmla="*/ 229 w 459"/>
              <a:gd name="T9" fmla="*/ 458 h 459"/>
              <a:gd name="T10" fmla="*/ 229 w 459"/>
              <a:gd name="T11" fmla="*/ 458 h 459"/>
              <a:gd name="T12" fmla="*/ 0 w 459"/>
              <a:gd name="T13" fmla="*/ 229 h 459"/>
              <a:gd name="T14" fmla="*/ 0 w 459"/>
              <a:gd name="T15" fmla="*/ 229 h 459"/>
              <a:gd name="T16" fmla="*/ 229 w 459"/>
              <a:gd name="T17" fmla="*/ 0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9" h="459">
                <a:moveTo>
                  <a:pt x="229" y="0"/>
                </a:moveTo>
                <a:lnTo>
                  <a:pt x="229" y="0"/>
                </a:lnTo>
                <a:cubicBezTo>
                  <a:pt x="356" y="0"/>
                  <a:pt x="458" y="103"/>
                  <a:pt x="458" y="229"/>
                </a:cubicBezTo>
                <a:lnTo>
                  <a:pt x="458" y="229"/>
                </a:lnTo>
                <a:cubicBezTo>
                  <a:pt x="458" y="356"/>
                  <a:pt x="356" y="458"/>
                  <a:pt x="229" y="458"/>
                </a:cubicBezTo>
                <a:lnTo>
                  <a:pt x="229" y="458"/>
                </a:lnTo>
                <a:cubicBezTo>
                  <a:pt x="103" y="458"/>
                  <a:pt x="0" y="356"/>
                  <a:pt x="0" y="229"/>
                </a:cubicBezTo>
                <a:lnTo>
                  <a:pt x="0" y="229"/>
                </a:lnTo>
                <a:cubicBezTo>
                  <a:pt x="0" y="103"/>
                  <a:pt x="103" y="0"/>
                  <a:pt x="229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10AA845-A083-2445-8603-929A4FD52FCE}"/>
              </a:ext>
            </a:extLst>
          </p:cNvPr>
          <p:cNvSpPr txBox="1"/>
          <p:nvPr/>
        </p:nvSpPr>
        <p:spPr>
          <a:xfrm>
            <a:off x="1386229" y="2454016"/>
            <a:ext cx="1113190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Mars-Mai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202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A1D67E4-02D3-8549-9794-8FCE3E8957F2}"/>
              </a:ext>
            </a:extLst>
          </p:cNvPr>
          <p:cNvSpPr txBox="1"/>
          <p:nvPr/>
        </p:nvSpPr>
        <p:spPr>
          <a:xfrm>
            <a:off x="4090194" y="2454016"/>
            <a:ext cx="1191353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Jun-Feb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2021-202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6862596-03C1-3942-9F70-AE53D3C3B52A}"/>
              </a:ext>
            </a:extLst>
          </p:cNvPr>
          <p:cNvSpPr txBox="1"/>
          <p:nvPr/>
        </p:nvSpPr>
        <p:spPr>
          <a:xfrm>
            <a:off x="6884214" y="2454015"/>
            <a:ext cx="1085938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Mars-Apr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2022</a:t>
            </a:r>
            <a:endParaRPr lang="en-US" sz="2400" b="1">
              <a:solidFill>
                <a:schemeClr val="tx2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05E62AA-018E-1C4D-ABB5-286F8B1A68F1}"/>
              </a:ext>
            </a:extLst>
          </p:cNvPr>
          <p:cNvSpPr txBox="1"/>
          <p:nvPr/>
        </p:nvSpPr>
        <p:spPr>
          <a:xfrm>
            <a:off x="9767932" y="2546349"/>
            <a:ext cx="806632" cy="46166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2022</a:t>
            </a: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74C1C193-4160-CD4D-B6F4-0AC2F1A882F7}"/>
              </a:ext>
            </a:extLst>
          </p:cNvPr>
          <p:cNvSpPr txBox="1">
            <a:spLocks/>
          </p:cNvSpPr>
          <p:nvPr/>
        </p:nvSpPr>
        <p:spPr>
          <a:xfrm>
            <a:off x="794656" y="4955662"/>
            <a:ext cx="2296332" cy="713722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Fastsettelse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v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nbefalinger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for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bruk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av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BOTT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økonomimodell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ved</a:t>
            </a: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 NTNU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CB3B291-F11F-2C40-822A-E87737BE1F0D}"/>
              </a:ext>
            </a:extLst>
          </p:cNvPr>
          <p:cNvSpPr txBox="1"/>
          <p:nvPr/>
        </p:nvSpPr>
        <p:spPr>
          <a:xfrm>
            <a:off x="1572562" y="4618530"/>
            <a:ext cx="740524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E 1</a:t>
            </a: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id="{342DA236-1D7E-6B4E-B65F-E450E5335A77}"/>
              </a:ext>
            </a:extLst>
          </p:cNvPr>
          <p:cNvSpPr txBox="1">
            <a:spLocks/>
          </p:cNvSpPr>
          <p:nvPr/>
        </p:nvSpPr>
        <p:spPr>
          <a:xfrm>
            <a:off x="3537702" y="4955662"/>
            <a:ext cx="2296332" cy="48288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Innføring av BOTT økonomimodell ved NTNU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51FA9D0-BC36-E842-A82D-A0F54DF05377}"/>
              </a:ext>
            </a:extLst>
          </p:cNvPr>
          <p:cNvSpPr txBox="1"/>
          <p:nvPr/>
        </p:nvSpPr>
        <p:spPr>
          <a:xfrm>
            <a:off x="4315607" y="4618530"/>
            <a:ext cx="740524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E 2</a:t>
            </a: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id="{B25F47DB-13AB-6F46-BE8F-972EC72F1CBF}"/>
              </a:ext>
            </a:extLst>
          </p:cNvPr>
          <p:cNvSpPr txBox="1">
            <a:spLocks/>
          </p:cNvSpPr>
          <p:nvPr/>
        </p:nvSpPr>
        <p:spPr>
          <a:xfrm>
            <a:off x="6279017" y="4955662"/>
            <a:ext cx="2296332" cy="48288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aluering innføring BOTT økonomimodell ved NTNU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67D7738-152B-1443-B810-990CDC512172}"/>
              </a:ext>
            </a:extLst>
          </p:cNvPr>
          <p:cNvSpPr txBox="1"/>
          <p:nvPr/>
        </p:nvSpPr>
        <p:spPr>
          <a:xfrm>
            <a:off x="7056923" y="4618530"/>
            <a:ext cx="740524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E 3</a:t>
            </a:r>
          </a:p>
        </p:txBody>
      </p:sp>
      <p:sp>
        <p:nvSpPr>
          <p:cNvPr id="51" name="Subtitle 2">
            <a:extLst>
              <a:ext uri="{FF2B5EF4-FFF2-40B4-BE49-F238E27FC236}">
                <a16:creationId xmlns:a16="http://schemas.microsoft.com/office/drawing/2014/main" id="{64BDE9CB-18E9-4E4A-B2B2-105737E1B319}"/>
              </a:ext>
            </a:extLst>
          </p:cNvPr>
          <p:cNvSpPr txBox="1">
            <a:spLocks/>
          </p:cNvSpPr>
          <p:nvPr/>
        </p:nvSpPr>
        <p:spPr>
          <a:xfrm>
            <a:off x="9023082" y="4955662"/>
            <a:ext cx="2296332" cy="48288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750"/>
              </a:lnSpc>
            </a:pPr>
            <a:r>
              <a:rPr lang="en-US" sz="12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Mukta ExtraLight" panose="020B0000000000000000" pitchFamily="34" charset="77"/>
              </a:rPr>
              <a:t>Eventuell justering av bruk av BOTT økonomimodell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660C917-D760-254A-9553-7AA0F39C2FE6}"/>
              </a:ext>
            </a:extLst>
          </p:cNvPr>
          <p:cNvSpPr txBox="1"/>
          <p:nvPr/>
        </p:nvSpPr>
        <p:spPr>
          <a:xfrm>
            <a:off x="9800986" y="4618530"/>
            <a:ext cx="740524" cy="33855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6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E 4</a:t>
            </a:r>
          </a:p>
        </p:txBody>
      </p:sp>
    </p:spTree>
    <p:extLst>
      <p:ext uri="{BB962C8B-B14F-4D97-AF65-F5344CB8AC3E}">
        <p14:creationId xmlns:p14="http://schemas.microsoft.com/office/powerpoint/2010/main" val="13369653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1B122D20-0DDC-4AD3-A86B-F44A404094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427633" y="-5441112"/>
            <a:ext cx="1325563" cy="121808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011448-84EC-4AE9-8CAA-87B296894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977" y="-11755"/>
            <a:ext cx="10515600" cy="1325563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RSO: Hvordan kan vi bruke dett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FE9B9-FD9A-4FA7-808C-3A53531F28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977" y="2874129"/>
            <a:ext cx="4888787" cy="29311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A097DC7-EB13-4A29-A1A2-FE29341CF6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6369" y="2795753"/>
            <a:ext cx="4956277" cy="29311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24F6F4-B6DC-4419-9F56-94E501FB8B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785" y="2159425"/>
            <a:ext cx="2804614" cy="477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619D0A-B6DC-473E-A8A0-BA41706C08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8398" y="2159424"/>
            <a:ext cx="3149521" cy="477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75B180-81B6-40D7-B09C-FD56F8888296}"/>
              </a:ext>
            </a:extLst>
          </p:cNvPr>
          <p:cNvSpPr txBox="1"/>
          <p:nvPr/>
        </p:nvSpPr>
        <p:spPr>
          <a:xfrm>
            <a:off x="752690" y="2255823"/>
            <a:ext cx="18597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Forskn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A50C7C-5A33-43C9-8D0B-37A57C21258F}"/>
              </a:ext>
            </a:extLst>
          </p:cNvPr>
          <p:cNvSpPr txBox="1"/>
          <p:nvPr/>
        </p:nvSpPr>
        <p:spPr>
          <a:xfrm>
            <a:off x="3658373" y="2277892"/>
            <a:ext cx="229525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>
                <a:latin typeface="Calibri" panose="020F0502020204030204" pitchFamily="34" charset="0"/>
              </a:rPr>
              <a:t>Forskningsinfrastruktur</a:t>
            </a:r>
            <a:endParaRPr lang="nb-NO" sz="1200">
              <a:latin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BA8D0A-5905-492A-BBBA-3447C09912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0823" y="2159425"/>
            <a:ext cx="2804614" cy="4779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D6A5B-D884-4708-84A4-207587B0CB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55436" y="2159424"/>
            <a:ext cx="2804614" cy="4779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1BE19D-1E4E-49DD-A957-4AD36DE9CD74}"/>
              </a:ext>
            </a:extLst>
          </p:cNvPr>
          <p:cNvSpPr txBox="1"/>
          <p:nvPr/>
        </p:nvSpPr>
        <p:spPr>
          <a:xfrm>
            <a:off x="6739728" y="2247114"/>
            <a:ext cx="204686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Strategiske aktivite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0FFA2-3C7B-4EB3-914A-8AA4E6DB7128}"/>
              </a:ext>
            </a:extLst>
          </p:cNvPr>
          <p:cNvSpPr txBox="1"/>
          <p:nvPr/>
        </p:nvSpPr>
        <p:spPr>
          <a:xfrm>
            <a:off x="9511438" y="2259882"/>
            <a:ext cx="241677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>
                <a:latin typeface="Calibri" panose="020F0502020204030204" pitchFamily="34" charset="0"/>
              </a:rPr>
              <a:t>Utdanningsstrategiske tiltak </a:t>
            </a:r>
            <a:endParaRPr lang="nb-NO" sz="1400"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506A42-DE38-4CF1-966E-54353EFC5AEB}"/>
              </a:ext>
            </a:extLst>
          </p:cNvPr>
          <p:cNvSpPr/>
          <p:nvPr/>
        </p:nvSpPr>
        <p:spPr>
          <a:xfrm>
            <a:off x="263785" y="201168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D5BD50-E909-4989-9E6D-F447191ADD31}"/>
              </a:ext>
            </a:extLst>
          </p:cNvPr>
          <p:cNvSpPr/>
          <p:nvPr/>
        </p:nvSpPr>
        <p:spPr>
          <a:xfrm>
            <a:off x="6271272" y="199396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1004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7BCA86E-7DF4-4028-92A4-11E593C6A574}"/>
              </a:ext>
            </a:extLst>
          </p:cNvPr>
          <p:cNvSpPr/>
          <p:nvPr/>
        </p:nvSpPr>
        <p:spPr>
          <a:xfrm>
            <a:off x="8835929" y="0"/>
            <a:ext cx="3346545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5CA5A2A1-11FE-4B34-820A-589A60792D44}"/>
              </a:ext>
            </a:extLst>
          </p:cNvPr>
          <p:cNvSpPr/>
          <p:nvPr/>
        </p:nvSpPr>
        <p:spPr>
          <a:xfrm>
            <a:off x="4546380" y="0"/>
            <a:ext cx="4216620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A7AC2C23-C3F2-458D-B933-0D008B031162}"/>
              </a:ext>
            </a:extLst>
          </p:cNvPr>
          <p:cNvSpPr/>
          <p:nvPr/>
        </p:nvSpPr>
        <p:spPr>
          <a:xfrm>
            <a:off x="1704180" y="1"/>
            <a:ext cx="2769270" cy="671512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3" name="Rectangle: Rounded Corners 502">
            <a:extLst>
              <a:ext uri="{FF2B5EF4-FFF2-40B4-BE49-F238E27FC236}">
                <a16:creationId xmlns:a16="http://schemas.microsoft.com/office/drawing/2014/main" id="{CEEB8AB5-A668-4F96-8EE1-C567695DF2E4}"/>
              </a:ext>
            </a:extLst>
          </p:cNvPr>
          <p:cNvSpPr/>
          <p:nvPr/>
        </p:nvSpPr>
        <p:spPr>
          <a:xfrm>
            <a:off x="48347" y="15530"/>
            <a:ext cx="1562100" cy="66995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48154" y="3009740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EVU-BF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1637071"/>
            <a:ext cx="1696058" cy="71508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Økonomisk aktivitet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13478" y="1994616"/>
            <a:ext cx="728542" cy="12194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5493816" y="1592762"/>
            <a:ext cx="271873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tterutdanning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5491706" y="2067360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5302362" y="530980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tterutdanning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5302362" y="5713945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</a:t>
            </a:r>
          </a:p>
        </p:txBody>
      </p: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1737483"/>
            <a:ext cx="1555738" cy="25713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>
            <a:off x="3938078" y="1994616"/>
            <a:ext cx="1553628" cy="21746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562" idx="3"/>
            <a:endCxn id="391" idx="1"/>
          </p:cNvCxnSpPr>
          <p:nvPr/>
        </p:nvCxnSpPr>
        <p:spPr>
          <a:xfrm flipV="1">
            <a:off x="3929795" y="5454525"/>
            <a:ext cx="1372567" cy="20641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562" idx="3"/>
            <a:endCxn id="400" idx="1"/>
          </p:cNvCxnSpPr>
          <p:nvPr/>
        </p:nvCxnSpPr>
        <p:spPr>
          <a:xfrm>
            <a:off x="3929795" y="5660943"/>
            <a:ext cx="1372567" cy="19772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35935" y="5150165"/>
            <a:ext cx="1693860" cy="102155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Ikke-økonomisk aktivitet</a:t>
            </a: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13478" y="3214052"/>
            <a:ext cx="722457" cy="244689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08538FC-46CB-4AFA-92BE-E6EB2C995F0B}"/>
              </a:ext>
            </a:extLst>
          </p:cNvPr>
          <p:cNvSpPr txBox="1"/>
          <p:nvPr/>
        </p:nvSpPr>
        <p:spPr>
          <a:xfrm>
            <a:off x="9253249" y="522441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: Ledelse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8016F43-90FE-46DB-A7E4-733125CB7413}"/>
              </a:ext>
            </a:extLst>
          </p:cNvPr>
          <p:cNvSpPr txBox="1"/>
          <p:nvPr/>
        </p:nvSpPr>
        <p:spPr>
          <a:xfrm>
            <a:off x="9253249" y="596977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Prosjektledelse</a:t>
            </a:r>
          </a:p>
        </p:txBody>
      </p: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C809E2C5-B3A4-4052-B7CE-57010C6B7D27}"/>
              </a:ext>
            </a:extLst>
          </p:cNvPr>
          <p:cNvCxnSpPr>
            <a:cxnSpLocks/>
            <a:stCxn id="400" idx="3"/>
            <a:endCxn id="122" idx="1"/>
          </p:cNvCxnSpPr>
          <p:nvPr/>
        </p:nvCxnSpPr>
        <p:spPr>
          <a:xfrm flipV="1">
            <a:off x="8137512" y="5369139"/>
            <a:ext cx="1115737" cy="48952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43F25810-6D8C-4D1E-B9D4-1C640C40C172}"/>
              </a:ext>
            </a:extLst>
          </p:cNvPr>
          <p:cNvCxnSpPr>
            <a:cxnSpLocks/>
            <a:stCxn id="400" idx="3"/>
            <a:endCxn id="123" idx="1"/>
          </p:cNvCxnSpPr>
          <p:nvPr/>
        </p:nvCxnSpPr>
        <p:spPr>
          <a:xfrm>
            <a:off x="8137512" y="5858666"/>
            <a:ext cx="1115737" cy="25582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4BAE53F-E334-4874-BBE1-61E154EF79FE}"/>
              </a:ext>
            </a:extLst>
          </p:cNvPr>
          <p:cNvSpPr txBox="1"/>
          <p:nvPr/>
        </p:nvSpPr>
        <p:spPr>
          <a:xfrm>
            <a:off x="9260947" y="1813907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Ledelse i organisasjoner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47A9CAF-9D8D-4E17-8C1A-9BE1BE68EDB2}"/>
              </a:ext>
            </a:extLst>
          </p:cNvPr>
          <p:cNvSpPr txBox="1"/>
          <p:nvPr/>
        </p:nvSpPr>
        <p:spPr>
          <a:xfrm>
            <a:off x="9253249" y="2467489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økonomistyring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1042028-D2DC-491C-A5ED-8D89E7CD2185}"/>
              </a:ext>
            </a:extLst>
          </p:cNvPr>
          <p:cNvCxnSpPr>
            <a:cxnSpLocks/>
            <a:stCxn id="379" idx="3"/>
            <a:endCxn id="134" idx="1"/>
          </p:cNvCxnSpPr>
          <p:nvPr/>
        </p:nvCxnSpPr>
        <p:spPr>
          <a:xfrm flipV="1">
            <a:off x="8212552" y="1958628"/>
            <a:ext cx="1048395" cy="25345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31669D5-3239-4618-8AE1-3B2AB347EDA2}"/>
              </a:ext>
            </a:extLst>
          </p:cNvPr>
          <p:cNvCxnSpPr>
            <a:cxnSpLocks/>
            <a:stCxn id="379" idx="3"/>
            <a:endCxn id="135" idx="1"/>
          </p:cNvCxnSpPr>
          <p:nvPr/>
        </p:nvCxnSpPr>
        <p:spPr>
          <a:xfrm>
            <a:off x="8212552" y="2212081"/>
            <a:ext cx="1040697" cy="4001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1C53934C-B3CE-4DE7-A61E-AFA588D652D8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0534D7A-B11C-4EE8-9D5D-9720911F00E3}"/>
              </a:ext>
            </a:extLst>
          </p:cNvPr>
          <p:cNvSpPr txBox="1"/>
          <p:nvPr/>
        </p:nvSpPr>
        <p:spPr>
          <a:xfrm>
            <a:off x="2185382" y="-8337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C436787-F67B-414E-8AEC-6B4C36F43ECE}"/>
              </a:ext>
            </a:extLst>
          </p:cNvPr>
          <p:cNvSpPr txBox="1"/>
          <p:nvPr/>
        </p:nvSpPr>
        <p:spPr>
          <a:xfrm>
            <a:off x="5880661" y="39026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4657A7B-9281-48BE-AEA7-CB62137E8469}"/>
              </a:ext>
            </a:extLst>
          </p:cNvPr>
          <p:cNvSpPr txBox="1"/>
          <p:nvPr/>
        </p:nvSpPr>
        <p:spPr>
          <a:xfrm>
            <a:off x="9611718" y="45015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</p:spTree>
    <p:extLst>
      <p:ext uri="{BB962C8B-B14F-4D97-AF65-F5344CB8AC3E}">
        <p14:creationId xmlns:p14="http://schemas.microsoft.com/office/powerpoint/2010/main" val="3791859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378" grpId="0" animBg="1"/>
      <p:bldP spid="379" grpId="0" animBg="1"/>
      <p:bldP spid="391" grpId="0" animBg="1"/>
      <p:bldP spid="400" grpId="0" animBg="1"/>
      <p:bldP spid="562" grpId="0" animBg="1"/>
      <p:bldP spid="122" grpId="0" animBg="1"/>
      <p:bldP spid="123" grpId="0" animBg="1"/>
      <p:bldP spid="134" grpId="0" animBg="1"/>
      <p:bldP spid="13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20F2A0-F9AA-4D13-B13F-9945B5A2EE82}"/>
              </a:ext>
            </a:extLst>
          </p:cNvPr>
          <p:cNvGraphicFramePr/>
          <p:nvPr/>
        </p:nvGraphicFramePr>
        <p:xfrm>
          <a:off x="6096000" y="1316285"/>
          <a:ext cx="5991225" cy="4636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BB5580F0-CC64-4464-A71C-D6FF4D3CF8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2137123"/>
              </p:ext>
            </p:extLst>
          </p:nvPr>
        </p:nvGraphicFramePr>
        <p:xfrm>
          <a:off x="395539" y="3884286"/>
          <a:ext cx="5476624" cy="23445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75F79185-85F8-4B84-8F38-FF09E7EBF7C1}"/>
              </a:ext>
            </a:extLst>
          </p:cNvPr>
          <p:cNvGraphicFramePr/>
          <p:nvPr/>
        </p:nvGraphicFramePr>
        <p:xfrm>
          <a:off x="395539" y="1341921"/>
          <a:ext cx="5476624" cy="1866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3628EBF3-DDA4-42A7-85DC-BEFB5E40FD8E}"/>
              </a:ext>
            </a:extLst>
          </p:cNvPr>
          <p:cNvSpPr txBox="1"/>
          <p:nvPr/>
        </p:nvSpPr>
        <p:spPr>
          <a:xfrm>
            <a:off x="333286" y="276225"/>
            <a:ext cx="11572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Prosjektstruktur – muligheter i tillegg til hierarkiet ved særskilte behov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CDDE172-0018-4666-8A6F-69BDA6B191E9}"/>
              </a:ext>
            </a:extLst>
          </p:cNvPr>
          <p:cNvSpPr txBox="1"/>
          <p:nvPr/>
        </p:nvSpPr>
        <p:spPr>
          <a:xfrm>
            <a:off x="395539" y="1051582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nkel variant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9634B0D5-81F1-4A4C-A94B-2FC1D7A1691B}"/>
              </a:ext>
            </a:extLst>
          </p:cNvPr>
          <p:cNvSpPr txBox="1"/>
          <p:nvPr/>
        </p:nvSpPr>
        <p:spPr>
          <a:xfrm>
            <a:off x="395539" y="3558993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Med prosjekt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31E60BE-9753-43F8-BDD1-63526D3B9E47}"/>
              </a:ext>
            </a:extLst>
          </p:cNvPr>
          <p:cNvSpPr txBox="1"/>
          <p:nvPr/>
        </p:nvSpPr>
        <p:spPr>
          <a:xfrm>
            <a:off x="6319837" y="1013482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Med prosjekt og hovedprosjekt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68EAF3C4-E589-4738-85BB-61950D50D587}"/>
              </a:ext>
            </a:extLst>
          </p:cNvPr>
          <p:cNvSpPr/>
          <p:nvPr/>
        </p:nvSpPr>
        <p:spPr>
          <a:xfrm>
            <a:off x="11001909" y="4776749"/>
            <a:ext cx="1085316" cy="2573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 dirty="0"/>
              <a:t>Utdanningsdrif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5D7EB9B-D336-47B9-90A2-2686EE0D131F}"/>
              </a:ext>
            </a:extLst>
          </p:cNvPr>
          <p:cNvSpPr/>
          <p:nvPr/>
        </p:nvSpPr>
        <p:spPr>
          <a:xfrm>
            <a:off x="5073295" y="4420113"/>
            <a:ext cx="1085316" cy="3322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/>
              <a:t>Investering infrastruktur</a:t>
            </a:r>
          </a:p>
        </p:txBody>
      </p:sp>
      <p:sp>
        <p:nvSpPr>
          <p:cNvPr id="12" name="Rektangel 1">
            <a:extLst>
              <a:ext uri="{FF2B5EF4-FFF2-40B4-BE49-F238E27FC236}">
                <a16:creationId xmlns:a16="http://schemas.microsoft.com/office/drawing/2014/main" id="{8A566E3B-B184-494F-8754-BAAE9F1C6E08}"/>
              </a:ext>
            </a:extLst>
          </p:cNvPr>
          <p:cNvSpPr/>
          <p:nvPr/>
        </p:nvSpPr>
        <p:spPr>
          <a:xfrm>
            <a:off x="5073295" y="5941706"/>
            <a:ext cx="1085316" cy="2573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 dirty="0"/>
              <a:t>Utdanningsdrift</a:t>
            </a:r>
          </a:p>
        </p:txBody>
      </p:sp>
      <p:sp>
        <p:nvSpPr>
          <p:cNvPr id="13" name="Rektangel 10">
            <a:extLst>
              <a:ext uri="{FF2B5EF4-FFF2-40B4-BE49-F238E27FC236}">
                <a16:creationId xmlns:a16="http://schemas.microsoft.com/office/drawing/2014/main" id="{98565884-77F5-486B-BBF4-C63CD87C785F}"/>
              </a:ext>
            </a:extLst>
          </p:cNvPr>
          <p:cNvSpPr/>
          <p:nvPr/>
        </p:nvSpPr>
        <p:spPr>
          <a:xfrm>
            <a:off x="11077575" y="5773312"/>
            <a:ext cx="1085316" cy="3322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/>
              <a:t>Investering infrastruktur</a:t>
            </a:r>
          </a:p>
        </p:txBody>
      </p:sp>
    </p:spTree>
    <p:extLst>
      <p:ext uri="{BB962C8B-B14F-4D97-AF65-F5344CB8AC3E}">
        <p14:creationId xmlns:p14="http://schemas.microsoft.com/office/powerpoint/2010/main" val="147669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Graphic spid="22" grpId="0">
        <p:bldAsOne/>
      </p:bldGraphic>
      <p:bldGraphic spid="23" grpId="0">
        <p:bldAsOne/>
      </p:bldGraphic>
      <p:bldP spid="24" grpId="0"/>
      <p:bldP spid="25" grpId="0"/>
      <p:bldP spid="26" grpId="0"/>
      <p:bldP spid="2" grpId="0" animBg="1"/>
      <p:bldP spid="11" grpId="0" animBg="1"/>
      <p:bldP spid="12" grpId="0" animBg="1"/>
      <p:bldP spid="1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ktangel 55">
            <a:extLst>
              <a:ext uri="{FF2B5EF4-FFF2-40B4-BE49-F238E27FC236}">
                <a16:creationId xmlns:a16="http://schemas.microsoft.com/office/drawing/2014/main" id="{A8CF53E3-6977-493C-A855-679F73AD97A8}"/>
              </a:ext>
            </a:extLst>
          </p:cNvPr>
          <p:cNvSpPr/>
          <p:nvPr/>
        </p:nvSpPr>
        <p:spPr>
          <a:xfrm>
            <a:off x="3682678" y="4712781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F7380A6-BB8C-46FE-9230-7EB9503981DF}"/>
              </a:ext>
            </a:extLst>
          </p:cNvPr>
          <p:cNvSpPr/>
          <p:nvPr/>
        </p:nvSpPr>
        <p:spPr>
          <a:xfrm>
            <a:off x="3682678" y="381022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59B9A19C-6394-4818-970D-21046A660339}"/>
              </a:ext>
            </a:extLst>
          </p:cNvPr>
          <p:cNvSpPr/>
          <p:nvPr/>
        </p:nvSpPr>
        <p:spPr>
          <a:xfrm>
            <a:off x="3682678" y="306841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ktangel 32">
            <a:extLst>
              <a:ext uri="{FF2B5EF4-FFF2-40B4-BE49-F238E27FC236}">
                <a16:creationId xmlns:a16="http://schemas.microsoft.com/office/drawing/2014/main" id="{EE7308FF-0AC5-4E1D-813E-EA4223308322}"/>
              </a:ext>
            </a:extLst>
          </p:cNvPr>
          <p:cNvSpPr/>
          <p:nvPr/>
        </p:nvSpPr>
        <p:spPr>
          <a:xfrm>
            <a:off x="3682678" y="234713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TextBox 89">
            <a:extLst>
              <a:ext uri="{FF2B5EF4-FFF2-40B4-BE49-F238E27FC236}">
                <a16:creationId xmlns:a16="http://schemas.microsoft.com/office/drawing/2014/main" id="{8C6F944B-BDC1-413E-B4B9-683FC39F4582}"/>
              </a:ext>
            </a:extLst>
          </p:cNvPr>
          <p:cNvSpPr txBox="1"/>
          <p:nvPr/>
        </p:nvSpPr>
        <p:spPr>
          <a:xfrm>
            <a:off x="4911789" y="5793639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4" name="Connector: Elbow 110">
            <a:extLst>
              <a:ext uri="{FF2B5EF4-FFF2-40B4-BE49-F238E27FC236}">
                <a16:creationId xmlns:a16="http://schemas.microsoft.com/office/drawing/2014/main" id="{1DE3E399-CC85-4B56-86BE-50FE3F727975}"/>
              </a:ext>
            </a:extLst>
          </p:cNvPr>
          <p:cNvCxnSpPr>
            <a:cxnSpLocks/>
            <a:endCxn id="88" idx="1"/>
          </p:cNvCxnSpPr>
          <p:nvPr/>
        </p:nvCxnSpPr>
        <p:spPr>
          <a:xfrm rot="16200000" flipV="1">
            <a:off x="3842235" y="3621045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106">
            <a:extLst>
              <a:ext uri="{FF2B5EF4-FFF2-40B4-BE49-F238E27FC236}">
                <a16:creationId xmlns:a16="http://schemas.microsoft.com/office/drawing/2014/main" id="{B7A0013B-16D7-4D7F-87C0-C1EB7E7579DE}"/>
              </a:ext>
            </a:extLst>
          </p:cNvPr>
          <p:cNvCxnSpPr>
            <a:cxnSpLocks/>
            <a:stCxn id="56" idx="1"/>
            <a:endCxn id="69" idx="1"/>
          </p:cNvCxnSpPr>
          <p:nvPr/>
        </p:nvCxnSpPr>
        <p:spPr>
          <a:xfrm rot="10800000">
            <a:off x="3682678" y="3347417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ktangel 76">
            <a:extLst>
              <a:ext uri="{FF2B5EF4-FFF2-40B4-BE49-F238E27FC236}">
                <a16:creationId xmlns:a16="http://schemas.microsoft.com/office/drawing/2014/main" id="{06D307AE-CD29-40F9-A337-B370D338A397}"/>
              </a:ext>
            </a:extLst>
          </p:cNvPr>
          <p:cNvSpPr/>
          <p:nvPr/>
        </p:nvSpPr>
        <p:spPr>
          <a:xfrm>
            <a:off x="5596818" y="4693469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Internprosjekt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0C3A3B2A-7283-4E37-98E1-1CCB0F13B465}"/>
              </a:ext>
            </a:extLst>
          </p:cNvPr>
          <p:cNvSpPr txBox="1"/>
          <p:nvPr/>
        </p:nvSpPr>
        <p:spPr>
          <a:xfrm>
            <a:off x="4916225" y="4656002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83" name="Connector: Elbow 97">
            <a:extLst>
              <a:ext uri="{FF2B5EF4-FFF2-40B4-BE49-F238E27FC236}">
                <a16:creationId xmlns:a16="http://schemas.microsoft.com/office/drawing/2014/main" id="{53793660-A747-4076-95D9-2088792017F7}"/>
              </a:ext>
            </a:extLst>
          </p:cNvPr>
          <p:cNvCxnSpPr>
            <a:cxnSpLocks/>
            <a:stCxn id="77" idx="2"/>
          </p:cNvCxnSpPr>
          <p:nvPr/>
        </p:nvCxnSpPr>
        <p:spPr>
          <a:xfrm rot="5400000">
            <a:off x="5367655" y="4673632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4" name="Rektangel 30">
            <a:extLst>
              <a:ext uri="{FF2B5EF4-FFF2-40B4-BE49-F238E27FC236}">
                <a16:creationId xmlns:a16="http://schemas.microsoft.com/office/drawing/2014/main" id="{36574E8E-9FC5-46E4-B590-7185D0D6B847}"/>
              </a:ext>
            </a:extLst>
          </p:cNvPr>
          <p:cNvSpPr/>
          <p:nvPr/>
        </p:nvSpPr>
        <p:spPr>
          <a:xfrm>
            <a:off x="5596817" y="378080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</a:t>
            </a:r>
            <a:r>
              <a:rPr kumimoji="0" lang="nb-NO" sz="1100" b="0" i="0" u="none" strike="noStrike" kern="1200" cap="none" spc="0" normalizeH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eringskilde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Rektangel 31">
            <a:extLst>
              <a:ext uri="{FF2B5EF4-FFF2-40B4-BE49-F238E27FC236}">
                <a16:creationId xmlns:a16="http://schemas.microsoft.com/office/drawing/2014/main" id="{D8A71A8B-E9C3-4729-8E6F-0FB3A0BC9296}"/>
              </a:ext>
            </a:extLst>
          </p:cNvPr>
          <p:cNvSpPr/>
          <p:nvPr/>
        </p:nvSpPr>
        <p:spPr>
          <a:xfrm>
            <a:off x="5606245" y="307100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86" name="Rektangel 32">
            <a:extLst>
              <a:ext uri="{FF2B5EF4-FFF2-40B4-BE49-F238E27FC236}">
                <a16:creationId xmlns:a16="http://schemas.microsoft.com/office/drawing/2014/main" id="{AAEE27AC-F759-4BCB-885D-7EDD12185E88}"/>
              </a:ext>
            </a:extLst>
          </p:cNvPr>
          <p:cNvSpPr/>
          <p:nvPr/>
        </p:nvSpPr>
        <p:spPr>
          <a:xfrm>
            <a:off x="5596817" y="231379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Rektangel 32">
            <a:extLst>
              <a:ext uri="{FF2B5EF4-FFF2-40B4-BE49-F238E27FC236}">
                <a16:creationId xmlns:a16="http://schemas.microsoft.com/office/drawing/2014/main" id="{FC6ED036-0DAF-4657-B5E9-0483E47EE7C9}"/>
              </a:ext>
            </a:extLst>
          </p:cNvPr>
          <p:cNvSpPr/>
          <p:nvPr/>
        </p:nvSpPr>
        <p:spPr>
          <a:xfrm>
            <a:off x="5596817" y="158746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5" name="Kobling: vinkel 94">
            <a:extLst>
              <a:ext uri="{FF2B5EF4-FFF2-40B4-BE49-F238E27FC236}">
                <a16:creationId xmlns:a16="http://schemas.microsoft.com/office/drawing/2014/main" id="{3805FE83-2639-4264-8EA0-C02B3B428D37}"/>
              </a:ext>
            </a:extLst>
          </p:cNvPr>
          <p:cNvCxnSpPr>
            <a:cxnSpLocks/>
            <a:stCxn id="77" idx="1"/>
            <a:endCxn id="84" idx="1"/>
          </p:cNvCxnSpPr>
          <p:nvPr/>
        </p:nvCxnSpPr>
        <p:spPr>
          <a:xfrm rot="10800000">
            <a:off x="5596818" y="4059807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Kobling: vinkel 95">
            <a:extLst>
              <a:ext uri="{FF2B5EF4-FFF2-40B4-BE49-F238E27FC236}">
                <a16:creationId xmlns:a16="http://schemas.microsoft.com/office/drawing/2014/main" id="{4D80CA54-FDA1-4AF8-B2C9-ED87A087AB34}"/>
              </a:ext>
            </a:extLst>
          </p:cNvPr>
          <p:cNvCxnSpPr>
            <a:cxnSpLocks/>
            <a:stCxn id="77" idx="1"/>
            <a:endCxn id="86" idx="1"/>
          </p:cNvCxnSpPr>
          <p:nvPr/>
        </p:nvCxnSpPr>
        <p:spPr>
          <a:xfrm rot="10800000">
            <a:off x="5596818" y="2592793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36BB6E26-91E8-4CA3-9B56-6D374CD3B22F}"/>
              </a:ext>
            </a:extLst>
          </p:cNvPr>
          <p:cNvCxnSpPr>
            <a:cxnSpLocks/>
            <a:stCxn id="77" idx="1"/>
            <a:endCxn id="85" idx="1"/>
          </p:cNvCxnSpPr>
          <p:nvPr/>
        </p:nvCxnSpPr>
        <p:spPr>
          <a:xfrm rot="10800000" flipH="1">
            <a:off x="5596817" y="3350009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Kobling: vinkel 98">
            <a:extLst>
              <a:ext uri="{FF2B5EF4-FFF2-40B4-BE49-F238E27FC236}">
                <a16:creationId xmlns:a16="http://schemas.microsoft.com/office/drawing/2014/main" id="{E8F7A585-6D0E-4A9D-8A9D-88BA450D7A59}"/>
              </a:ext>
            </a:extLst>
          </p:cNvPr>
          <p:cNvCxnSpPr>
            <a:cxnSpLocks/>
            <a:stCxn id="56" idx="1"/>
            <a:endCxn id="61" idx="1"/>
          </p:cNvCxnSpPr>
          <p:nvPr/>
        </p:nvCxnSpPr>
        <p:spPr>
          <a:xfrm rot="10800000">
            <a:off x="3682678" y="4089223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Kobling: vinkel 100">
            <a:extLst>
              <a:ext uri="{FF2B5EF4-FFF2-40B4-BE49-F238E27FC236}">
                <a16:creationId xmlns:a16="http://schemas.microsoft.com/office/drawing/2014/main" id="{6389C4B9-D484-4916-BA14-E21A1C262D08}"/>
              </a:ext>
            </a:extLst>
          </p:cNvPr>
          <p:cNvCxnSpPr>
            <a:cxnSpLocks/>
            <a:stCxn id="56" idx="1"/>
            <a:endCxn id="70" idx="1"/>
          </p:cNvCxnSpPr>
          <p:nvPr/>
        </p:nvCxnSpPr>
        <p:spPr>
          <a:xfrm rot="10800000">
            <a:off x="3682678" y="2626131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45" name="Rett linje 44"/>
          <p:cNvCxnSpPr>
            <a:cxnSpLocks/>
          </p:cNvCxnSpPr>
          <p:nvPr/>
        </p:nvCxnSpPr>
        <p:spPr>
          <a:xfrm flipH="1">
            <a:off x="-3693" y="5754329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tt linje 48"/>
          <p:cNvCxnSpPr>
            <a:cxnSpLocks/>
          </p:cNvCxnSpPr>
          <p:nvPr/>
        </p:nvCxnSpPr>
        <p:spPr>
          <a:xfrm flipH="1">
            <a:off x="-3693" y="4546809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7"/>
          <p:cNvSpPr txBox="1"/>
          <p:nvPr/>
        </p:nvSpPr>
        <p:spPr>
          <a:xfrm>
            <a:off x="2057115" y="48350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sp>
        <p:nvSpPr>
          <p:cNvPr id="9" name="Rektangel 8"/>
          <p:cNvSpPr/>
          <p:nvPr/>
        </p:nvSpPr>
        <p:spPr>
          <a:xfrm>
            <a:off x="2724242" y="4803006"/>
            <a:ext cx="256769" cy="261608"/>
          </a:xfrm>
          <a:prstGeom prst="rect">
            <a:avLst/>
          </a:prstGeom>
        </p:spPr>
        <p:txBody>
          <a:bodyPr wrap="none" lIns="91424" tIns="45719" rIns="91424" bIns="45719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11825163" y="462491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5F01F82-4BBB-4536-A4A6-AEA3AEC4F597}"/>
              </a:ext>
            </a:extLst>
          </p:cNvPr>
          <p:cNvSpPr txBox="1"/>
          <p:nvPr/>
        </p:nvSpPr>
        <p:spPr>
          <a:xfrm>
            <a:off x="6816882" y="3793493"/>
            <a:ext cx="187806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D</a:t>
            </a:r>
          </a:p>
        </p:txBody>
      </p: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6823237" y="3062173"/>
            <a:ext cx="185313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Bevilgning fra KD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22758319-04EF-48F9-9736-A1A6B12BD2F8}"/>
              </a:ext>
            </a:extLst>
          </p:cNvPr>
          <p:cNvSpPr txBox="1"/>
          <p:nvPr/>
        </p:nvSpPr>
        <p:spPr>
          <a:xfrm>
            <a:off x="6810219" y="1548766"/>
            <a:ext cx="1859485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Strategisk aktivitet</a:t>
            </a:r>
          </a:p>
        </p:txBody>
      </p:sp>
      <p:sp>
        <p:nvSpPr>
          <p:cNvPr id="62" name="TekstSylinder 61">
            <a:extLst>
              <a:ext uri="{FF2B5EF4-FFF2-40B4-BE49-F238E27FC236}">
                <a16:creationId xmlns:a16="http://schemas.microsoft.com/office/drawing/2014/main" id="{2526863B-F140-4A60-8F68-4CC5C859E442}"/>
              </a:ext>
            </a:extLst>
          </p:cNvPr>
          <p:cNvSpPr txBox="1"/>
          <p:nvPr/>
        </p:nvSpPr>
        <p:spPr>
          <a:xfrm>
            <a:off x="6810219" y="4663737"/>
            <a:ext cx="2103193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200101 </a:t>
            </a:r>
            <a:r>
              <a:rPr lang="nb-NO" sz="1200" err="1"/>
              <a:t>Stip</a:t>
            </a:r>
            <a:r>
              <a:rPr lang="nb-NO" sz="1200"/>
              <a:t>. K. Rasmussen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6810217" y="5257269"/>
            <a:ext cx="209147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400101 </a:t>
            </a:r>
            <a:r>
              <a:rPr lang="nb-NO" sz="1200" err="1"/>
              <a:t>Stip</a:t>
            </a:r>
            <a:r>
              <a:rPr lang="nb-NO" sz="1200"/>
              <a:t>. R. Knutsen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6823212" y="4142062"/>
            <a:ext cx="186540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SO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2732CD35-E062-4318-B3CA-D23D67EE5DF4}"/>
              </a:ext>
            </a:extLst>
          </p:cNvPr>
          <p:cNvSpPr txBox="1"/>
          <p:nvPr/>
        </p:nvSpPr>
        <p:spPr>
          <a:xfrm>
            <a:off x="6823237" y="3372631"/>
            <a:ext cx="187806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Bevilgning fra KD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F25CEE0C-3252-4AEC-ADDE-ECCF9C36488C}"/>
              </a:ext>
            </a:extLst>
          </p:cNvPr>
          <p:cNvSpPr txBox="1"/>
          <p:nvPr/>
        </p:nvSpPr>
        <p:spPr>
          <a:xfrm>
            <a:off x="6816882" y="2614669"/>
            <a:ext cx="187806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Frie </a:t>
            </a:r>
            <a:r>
              <a:rPr lang="nb-NO" sz="1200" err="1"/>
              <a:t>rekr.still</a:t>
            </a:r>
            <a:r>
              <a:rPr lang="nb-NO" sz="1200"/>
              <a:t>. tildelt 2021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6816882" y="1879880"/>
            <a:ext cx="185948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</a:t>
            </a: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DD3201CA-5EE3-4F3C-84A0-1BACC0F230E2}"/>
              </a:ext>
            </a:extLst>
          </p:cNvPr>
          <p:cNvSpPr txBox="1"/>
          <p:nvPr/>
        </p:nvSpPr>
        <p:spPr>
          <a:xfrm>
            <a:off x="288422" y="1032376"/>
            <a:ext cx="1881036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 RD</a:t>
            </a:r>
          </a:p>
        </p:txBody>
      </p:sp>
      <p:sp>
        <p:nvSpPr>
          <p:cNvPr id="81" name="TekstSylinder 80">
            <a:extLst>
              <a:ext uri="{FF2B5EF4-FFF2-40B4-BE49-F238E27FC236}">
                <a16:creationId xmlns:a16="http://schemas.microsoft.com/office/drawing/2014/main" id="{F555F397-573B-440F-A587-9E2A9B466F3E}"/>
              </a:ext>
            </a:extLst>
          </p:cNvPr>
          <p:cNvSpPr txBox="1"/>
          <p:nvPr/>
        </p:nvSpPr>
        <p:spPr>
          <a:xfrm>
            <a:off x="288421" y="1348189"/>
            <a:ext cx="1881037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 RSO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CBB806B4-9453-4EF6-9D7E-0BED2DC5230D}"/>
              </a:ext>
            </a:extLst>
          </p:cNvPr>
          <p:cNvSpPr txBox="1"/>
          <p:nvPr/>
        </p:nvSpPr>
        <p:spPr>
          <a:xfrm>
            <a:off x="6811324" y="2309083"/>
            <a:ext cx="187806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</a:t>
            </a:r>
          </a:p>
        </p:txBody>
      </p:sp>
      <p:sp>
        <p:nvSpPr>
          <p:cNvPr id="82" name="TekstSylinder 81">
            <a:extLst>
              <a:ext uri="{FF2B5EF4-FFF2-40B4-BE49-F238E27FC236}">
                <a16:creationId xmlns:a16="http://schemas.microsoft.com/office/drawing/2014/main" id="{91024977-F6CD-469E-8AED-FB67F0E57EFF}"/>
              </a:ext>
            </a:extLst>
          </p:cNvPr>
          <p:cNvSpPr txBox="1"/>
          <p:nvPr/>
        </p:nvSpPr>
        <p:spPr>
          <a:xfrm>
            <a:off x="11608326" y="462247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pic>
        <p:nvPicPr>
          <p:cNvPr id="52" name="Picture 3">
            <a:extLst>
              <a:ext uri="{FF2B5EF4-FFF2-40B4-BE49-F238E27FC236}">
                <a16:creationId xmlns:a16="http://schemas.microsoft.com/office/drawing/2014/main" id="{75CB95B1-2C2F-48A7-9B57-8D50FF470E1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3522"/>
          <a:stretch/>
        </p:blipFill>
        <p:spPr>
          <a:xfrm rot="5400000">
            <a:off x="5647569" y="-5661504"/>
            <a:ext cx="896864" cy="12192002"/>
          </a:xfrm>
          <a:prstGeom prst="rect">
            <a:avLst/>
          </a:prstGeom>
        </p:spPr>
      </p:pic>
      <p:sp>
        <p:nvSpPr>
          <p:cNvPr id="53" name="Tittel 1">
            <a:extLst>
              <a:ext uri="{FF2B5EF4-FFF2-40B4-BE49-F238E27FC236}">
                <a16:creationId xmlns:a16="http://schemas.microsoft.com/office/drawing/2014/main" id="{FE7FE6CA-017D-479F-A32C-DCC2817760D3}"/>
              </a:ext>
            </a:extLst>
          </p:cNvPr>
          <p:cNvSpPr txBox="1">
            <a:spLocks/>
          </p:cNvSpPr>
          <p:nvPr/>
        </p:nvSpPr>
        <p:spPr>
          <a:xfrm>
            <a:off x="106523" y="32475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>
                <a:solidFill>
                  <a:schemeClr val="bg1"/>
                </a:solidFill>
              </a:rPr>
              <a:t>Eksempel på bruk av Aktivitet og Aktivitetstype</a:t>
            </a:r>
          </a:p>
          <a:p>
            <a:r>
              <a:rPr lang="nb-NO" sz="2400">
                <a:solidFill>
                  <a:schemeClr val="bg1"/>
                </a:solidFill>
              </a:rPr>
              <a:t>Rekrutteringsstillinger RD og RSO</a:t>
            </a:r>
            <a:endParaRPr lang="nb-NO" sz="1400">
              <a:solidFill>
                <a:schemeClr val="bg1"/>
              </a:solidFill>
            </a:endParaRPr>
          </a:p>
        </p:txBody>
      </p:sp>
      <p:sp>
        <p:nvSpPr>
          <p:cNvPr id="58" name="Snakkeboble: rektangel med avrundede hjørner 57">
            <a:extLst>
              <a:ext uri="{FF2B5EF4-FFF2-40B4-BE49-F238E27FC236}">
                <a16:creationId xmlns:a16="http://schemas.microsoft.com/office/drawing/2014/main" id="{1F89A5E7-779B-467F-9B49-A525516934C2}"/>
              </a:ext>
            </a:extLst>
          </p:cNvPr>
          <p:cNvSpPr/>
          <p:nvPr/>
        </p:nvSpPr>
        <p:spPr>
          <a:xfrm>
            <a:off x="254839" y="1973062"/>
            <a:ext cx="2700642" cy="1884032"/>
          </a:xfrm>
          <a:prstGeom prst="wedgeRoundRectCallout">
            <a:avLst>
              <a:gd name="adj1" fmla="val 22103"/>
              <a:gd name="adj2" fmla="val 49857"/>
              <a:gd name="adj3" fmla="val 1666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nb-NO" sz="1050" b="1"/>
              <a:t>Anbefaling:</a:t>
            </a:r>
          </a:p>
          <a:p>
            <a:r>
              <a:rPr lang="nb-NO" sz="1050"/>
              <a:t>Unngå å benytte prosjektstrukturen til informasjon som finnes i andre deler av økonomimodelle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/>
              <a:t>Ikke benytt delprosjekt til informasjon som ligger f.eks. i konto og k-s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/>
              <a:t>Ikke benytt prosjekt til gruppering av delprosjekt når tilsvarende gruppering ligger i aktivitetstype/aktivitet</a:t>
            </a:r>
          </a:p>
        </p:txBody>
      </p:sp>
      <p:sp>
        <p:nvSpPr>
          <p:cNvPr id="63" name="TekstSylinder 62">
            <a:extLst>
              <a:ext uri="{FF2B5EF4-FFF2-40B4-BE49-F238E27FC236}">
                <a16:creationId xmlns:a16="http://schemas.microsoft.com/office/drawing/2014/main" id="{0EECEB96-C92E-4902-9525-6FB37A8039E9}"/>
              </a:ext>
            </a:extLst>
          </p:cNvPr>
          <p:cNvSpPr txBox="1"/>
          <p:nvPr/>
        </p:nvSpPr>
        <p:spPr>
          <a:xfrm>
            <a:off x="6810218" y="4958189"/>
            <a:ext cx="2103193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300101 </a:t>
            </a:r>
            <a:r>
              <a:rPr lang="nb-NO" sz="1200" err="1"/>
              <a:t>Stip</a:t>
            </a:r>
            <a:r>
              <a:rPr lang="nb-NO" sz="1200"/>
              <a:t>. S. Iversen</a:t>
            </a:r>
          </a:p>
        </p:txBody>
      </p:sp>
      <p:sp>
        <p:nvSpPr>
          <p:cNvPr id="75" name="TekstSylinder 74">
            <a:extLst>
              <a:ext uri="{FF2B5EF4-FFF2-40B4-BE49-F238E27FC236}">
                <a16:creationId xmlns:a16="http://schemas.microsoft.com/office/drawing/2014/main" id="{8A0E0C2C-C06C-4845-8B9C-DB731080F258}"/>
              </a:ext>
            </a:extLst>
          </p:cNvPr>
          <p:cNvSpPr txBox="1"/>
          <p:nvPr/>
        </p:nvSpPr>
        <p:spPr>
          <a:xfrm>
            <a:off x="6810217" y="5556349"/>
            <a:ext cx="209147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500101 </a:t>
            </a:r>
            <a:r>
              <a:rPr lang="nb-NO" sz="1200" err="1"/>
              <a:t>Stip</a:t>
            </a:r>
            <a:r>
              <a:rPr lang="nb-NO" sz="1200"/>
              <a:t>. T. Ols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37551CFF-0451-46EB-9AF5-71802813B3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72185" y="3734569"/>
            <a:ext cx="6500350" cy="3000847"/>
          </a:xfrm>
          <a:prstGeom prst="rect">
            <a:avLst/>
          </a:prstGeom>
          <a:ln>
            <a:solidFill>
              <a:srgbClr val="62A0AA"/>
            </a:solidFill>
          </a:ln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01DAC514-4931-4AA9-92C6-2C56A00F61E7}"/>
              </a:ext>
            </a:extLst>
          </p:cNvPr>
          <p:cNvSpPr/>
          <p:nvPr/>
        </p:nvSpPr>
        <p:spPr>
          <a:xfrm>
            <a:off x="6422923" y="5235188"/>
            <a:ext cx="1939965" cy="1435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1258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4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0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4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30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7" grpId="0" animBg="1"/>
      <p:bldP spid="60" grpId="0" animBg="1"/>
      <p:bldP spid="62" grpId="0" animBg="1"/>
      <p:bldP spid="65" grpId="0" animBg="1"/>
      <p:bldP spid="67" grpId="0" animBg="1"/>
      <p:bldP spid="68" grpId="0" animBg="1"/>
      <p:bldP spid="71" grpId="0" animBg="1"/>
      <p:bldP spid="72" grpId="0" animBg="1"/>
      <p:bldP spid="72" grpId="1" animBg="1"/>
      <p:bldP spid="72" grpId="2" animBg="1"/>
      <p:bldP spid="80" grpId="0" animBg="1"/>
      <p:bldP spid="81" grpId="0" animBg="1"/>
      <p:bldP spid="55" grpId="0" animBg="1"/>
      <p:bldP spid="55" grpId="1" animBg="1"/>
      <p:bldP spid="55" grpId="2" animBg="1"/>
      <p:bldP spid="63" grpId="0" animBg="1"/>
      <p:bldP spid="75" grpId="0" animBg="1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18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22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4" y="819015"/>
            <a:ext cx="10395965" cy="1557994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: Økonomistyring BFV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377009"/>
            <a:ext cx="9710165" cy="3638660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1: </a:t>
            </a:r>
            <a:r>
              <a:rPr lang="nb-NO" sz="2400" dirty="0">
                <a:solidFill>
                  <a:schemeClr val="bg1"/>
                </a:solidFill>
              </a:rPr>
              <a:t>Hvordan kan min enhet utnytte økonomimodellen i økonomistyringen av RD?</a:t>
            </a:r>
          </a:p>
          <a:p>
            <a:pPr lvl="1"/>
            <a:endParaRPr lang="nb-NO" sz="2000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nb-NO" sz="20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  <a:hlinkClick r:id="rId2"/>
              </a:rPr>
              <a:t>https://padlet.com/annetteyludvigsen/x33m0zmgx9jg0qsv</a:t>
            </a: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Felles diskusjon med oppsummering fra gruppene. </a:t>
            </a:r>
          </a:p>
        </p:txBody>
      </p:sp>
    </p:spTree>
    <p:extLst>
      <p:ext uri="{BB962C8B-B14F-4D97-AF65-F5344CB8AC3E}">
        <p14:creationId xmlns:p14="http://schemas.microsoft.com/office/powerpoint/2010/main" val="2819090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2FD9DD-E09D-4A7F-B5A8-E3B6C4DCB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rosjektstruktur BO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A9D0E-D8CD-4ADB-AE1E-26621D57C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kor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intro, med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kus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på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hvorda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nytte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ruktur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for BOA i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yringen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7055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28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31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3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4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5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6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7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10A4442-2982-412C-938C-3A3874B98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Prinsip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29247-4B8A-4D90-AA6C-EF618AF0B5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1068" y="841247"/>
            <a:ext cx="6877878" cy="5120640"/>
          </a:xfrm>
        </p:spPr>
        <p:txBody>
          <a:bodyPr anchor="ctr">
            <a:normAutofit/>
          </a:bodyPr>
          <a:lstStyle/>
          <a:p>
            <a:r>
              <a:rPr lang="nb-NO" sz="1800">
                <a:solidFill>
                  <a:schemeClr val="tx2"/>
                </a:solidFill>
              </a:rPr>
              <a:t>Anbefalingene gjelder alle BOA-prosjekter, men ved konvertering av eksisterende BOA-prosjekter kan det være historiske forhold som gjør det uhensiktsmessig å implementere disse anbefalingene </a:t>
            </a:r>
          </a:p>
          <a:p>
            <a:r>
              <a:rPr lang="nb-NO" sz="1800">
                <a:solidFill>
                  <a:schemeClr val="tx2"/>
                </a:solidFill>
              </a:rPr>
              <a:t>Fristilt ksted, med unntak: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Delprosjekter som har flere ksted som inngår anbefales det å lage egne delprosjekter. Dette kan avvikes ved avtale mellom enhetene</a:t>
            </a:r>
          </a:p>
          <a:p>
            <a:pPr lvl="2"/>
            <a:r>
              <a:rPr lang="nb-NO" sz="1800">
                <a:solidFill>
                  <a:schemeClr val="tx2"/>
                </a:solidFill>
              </a:rPr>
              <a:t>Fordrer lik egenfinansiering gjennom hele prosjektperioden</a:t>
            </a:r>
          </a:p>
        </p:txBody>
      </p:sp>
    </p:spTree>
    <p:extLst>
      <p:ext uri="{BB962C8B-B14F-4D97-AF65-F5344CB8AC3E}">
        <p14:creationId xmlns:p14="http://schemas.microsoft.com/office/powerpoint/2010/main" val="9923794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E89894-4BF6-412C-A203-512295A86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715" y="2975329"/>
            <a:ext cx="4964178" cy="3796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F245B7-A231-484A-B7B5-D78DCB529F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F4B4FE-BFDA-4D96-B9BE-9BA74BB9D08F}"/>
              </a:ext>
            </a:extLst>
          </p:cNvPr>
          <p:cNvSpPr txBox="1"/>
          <p:nvPr/>
        </p:nvSpPr>
        <p:spPr>
          <a:xfrm>
            <a:off x="5666581" y="21815"/>
            <a:ext cx="558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>
                <a:solidFill>
                  <a:schemeClr val="bg1"/>
                </a:solidFill>
              </a:rPr>
              <a:t>Prosjektstruktur BO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7A4E3E4-CF5F-405C-83D9-0CEE4CF6E6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104" y="1360194"/>
            <a:ext cx="5696745" cy="4763165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A47177BC-4337-4642-B3C9-71EDE8031AD2}"/>
              </a:ext>
            </a:extLst>
          </p:cNvPr>
          <p:cNvSpPr txBox="1">
            <a:spLocks/>
          </p:cNvSpPr>
          <p:nvPr/>
        </p:nvSpPr>
        <p:spPr>
          <a:xfrm>
            <a:off x="6096000" y="1131016"/>
            <a:ext cx="5378300" cy="1595995"/>
          </a:xfrm>
          <a:prstGeom prst="rect">
            <a:avLst/>
          </a:prstGeom>
          <a:ln>
            <a:solidFill>
              <a:srgbClr val="33CCCC"/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En felles modell/struktur, inkludert noen få  frihetsgrader. </a:t>
            </a:r>
          </a:p>
          <a:p>
            <a:r>
              <a:rPr lang="nb-NO" sz="1800"/>
              <a:t>Alle enheter må selv vurdere hva som er den beste organiseringen av sin økonomi for å styre på best mulig måte. </a:t>
            </a:r>
          </a:p>
        </p:txBody>
      </p:sp>
    </p:spTree>
    <p:extLst>
      <p:ext uri="{BB962C8B-B14F-4D97-AF65-F5344CB8AC3E}">
        <p14:creationId xmlns:p14="http://schemas.microsoft.com/office/powerpoint/2010/main" val="4173719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B174B9D2-782E-49A6-9854-6F8BD63BA6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1648" y="-5602795"/>
            <a:ext cx="1028701" cy="121920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AC418D-4DE9-4BD9-ABCB-DF67B0C1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341" y="45022"/>
            <a:ext cx="10515600" cy="962535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 med 1 koststed og 1 finansiør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01E57F4-D249-4F33-B8A3-1D795FC9EB22}"/>
              </a:ext>
            </a:extLst>
          </p:cNvPr>
          <p:cNvGrpSpPr/>
          <p:nvPr/>
        </p:nvGrpSpPr>
        <p:grpSpPr>
          <a:xfrm>
            <a:off x="2321709" y="1464469"/>
            <a:ext cx="5419474" cy="4557355"/>
            <a:chOff x="2992852" y="1428693"/>
            <a:chExt cx="5612735" cy="459313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1698D64-E1FD-4D3C-9235-2FC8F97529DB}"/>
                </a:ext>
              </a:extLst>
            </p:cNvPr>
            <p:cNvSpPr/>
            <p:nvPr/>
          </p:nvSpPr>
          <p:spPr>
            <a:xfrm>
              <a:off x="4746458" y="2640938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Prosjek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14C6391-9935-4820-9F99-CE3D36EE4474}"/>
                </a:ext>
              </a:extLst>
            </p:cNvPr>
            <p:cNvSpPr/>
            <p:nvPr/>
          </p:nvSpPr>
          <p:spPr>
            <a:xfrm>
              <a:off x="4746458" y="3976192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elprosjekt</a:t>
              </a:r>
            </a:p>
            <a:p>
              <a:pPr algn="ctr"/>
              <a:r>
                <a:rPr lang="nb-NO" err="1"/>
                <a:t>Finansiør</a:t>
              </a:r>
              <a:r>
                <a:rPr lang="nb-NO"/>
                <a:t> 1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22C0CD1-70D4-4E0D-8992-79CBA5307432}"/>
                </a:ext>
              </a:extLst>
            </p:cNvPr>
            <p:cNvCxnSpPr>
              <a:stCxn id="5" idx="2"/>
              <a:endCxn id="6" idx="0"/>
            </p:cNvCxnSpPr>
            <p:nvPr/>
          </p:nvCxnSpPr>
          <p:spPr>
            <a:xfrm>
              <a:off x="5546558" y="3422991"/>
              <a:ext cx="0" cy="553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ktangel 21">
              <a:extLst>
                <a:ext uri="{FF2B5EF4-FFF2-40B4-BE49-F238E27FC236}">
                  <a16:creationId xmlns:a16="http://schemas.microsoft.com/office/drawing/2014/main" id="{BFDA6270-9206-4938-B1AC-847AA1A85C45}"/>
                </a:ext>
              </a:extLst>
            </p:cNvPr>
            <p:cNvSpPr/>
            <p:nvPr/>
          </p:nvSpPr>
          <p:spPr>
            <a:xfrm>
              <a:off x="4634159" y="2569436"/>
              <a:ext cx="1834816" cy="2273969"/>
            </a:xfrm>
            <a:prstGeom prst="rect">
              <a:avLst/>
            </a:prstGeom>
            <a:solidFill>
              <a:schemeClr val="bg1">
                <a:lumMod val="85000"/>
                <a:alpha val="34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867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FB50F82-3726-4BB8-BB32-B0D0DCB8FAEF}"/>
                </a:ext>
              </a:extLst>
            </p:cNvPr>
            <p:cNvSpPr/>
            <p:nvPr/>
          </p:nvSpPr>
          <p:spPr>
            <a:xfrm>
              <a:off x="4746458" y="1428693"/>
              <a:ext cx="1600200" cy="7820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Hovedprosjekt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EBC8B88-88E3-45E7-8E7E-5759BFD59981}"/>
                </a:ext>
              </a:extLst>
            </p:cNvPr>
            <p:cNvSpPr/>
            <p:nvPr/>
          </p:nvSpPr>
          <p:spPr>
            <a:xfrm>
              <a:off x="2992852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17E6135-A2BD-4B4B-B0DA-A2A7965697D1}"/>
                </a:ext>
              </a:extLst>
            </p:cNvPr>
            <p:cNvSpPr/>
            <p:nvPr/>
          </p:nvSpPr>
          <p:spPr>
            <a:xfrm>
              <a:off x="4607089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392924-7F77-45BE-A2FC-6F4A894689AB}"/>
                </a:ext>
              </a:extLst>
            </p:cNvPr>
            <p:cNvSpPr/>
            <p:nvPr/>
          </p:nvSpPr>
          <p:spPr>
            <a:xfrm>
              <a:off x="6110034" y="5570805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3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AC3FBD6-FAE4-4D8B-A3AB-C630098FBF3C}"/>
                </a:ext>
              </a:extLst>
            </p:cNvPr>
            <p:cNvSpPr/>
            <p:nvPr/>
          </p:nvSpPr>
          <p:spPr>
            <a:xfrm>
              <a:off x="7534775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n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10F898B-ECD6-4ADA-83BD-4BBB642ACDA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89152" y="5234432"/>
              <a:ext cx="4701339" cy="4027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CB0D79C-9FE4-49F2-A71D-3ECA4BB084E8}"/>
                </a:ext>
              </a:extLst>
            </p:cNvPr>
            <p:cNvCxnSpPr>
              <a:cxnSpLocks/>
              <a:stCxn id="6" idx="2"/>
            </p:cNvCxnSpPr>
            <p:nvPr/>
          </p:nvCxnSpPr>
          <p:spPr>
            <a:xfrm flipH="1">
              <a:off x="5539540" y="4758245"/>
              <a:ext cx="7018" cy="476187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2E96405-13D3-45A1-BFB4-D9E93DB33E43}"/>
                </a:ext>
              </a:extLst>
            </p:cNvPr>
            <p:cNvCxnSpPr>
              <a:cxnSpLocks/>
            </p:cNvCxnSpPr>
            <p:nvPr/>
          </p:nvCxnSpPr>
          <p:spPr>
            <a:xfrm>
              <a:off x="3528258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351F4EE-2069-4127-9FDD-6FEF6D25B417}"/>
                </a:ext>
              </a:extLst>
            </p:cNvPr>
            <p:cNvCxnSpPr>
              <a:cxnSpLocks/>
            </p:cNvCxnSpPr>
            <p:nvPr/>
          </p:nvCxnSpPr>
          <p:spPr>
            <a:xfrm>
              <a:off x="6650451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B0D0EAC-22C3-42BF-87A9-CCA50C193782}"/>
                </a:ext>
              </a:extLst>
            </p:cNvPr>
            <p:cNvCxnSpPr>
              <a:cxnSpLocks/>
            </p:cNvCxnSpPr>
            <p:nvPr/>
          </p:nvCxnSpPr>
          <p:spPr>
            <a:xfrm>
              <a:off x="5149511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EDD28CD-1A36-492A-ABD9-1FFB9B3FDC5E}"/>
                </a:ext>
              </a:extLst>
            </p:cNvPr>
            <p:cNvCxnSpPr>
              <a:cxnSpLocks/>
            </p:cNvCxnSpPr>
            <p:nvPr/>
          </p:nvCxnSpPr>
          <p:spPr>
            <a:xfrm>
              <a:off x="8190491" y="525287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2216863-0DA2-418C-A787-7D353424EC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15471" y="2200770"/>
              <a:ext cx="7018" cy="47618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D5C3B9E-01FC-4BCC-A961-5DB1308018AB}"/>
                </a:ext>
              </a:extLst>
            </p:cNvPr>
            <p:cNvSpPr txBox="1"/>
            <p:nvPr/>
          </p:nvSpPr>
          <p:spPr>
            <a:xfrm>
              <a:off x="6564221" y="2980708"/>
              <a:ext cx="492443" cy="1437766"/>
            </a:xfrm>
            <a:prstGeom prst="rect">
              <a:avLst/>
            </a:prstGeom>
            <a:noFill/>
          </p:spPr>
          <p:txBody>
            <a:bodyPr vert="vert" wrap="square" rtlCol="0">
              <a:spAutoFit/>
            </a:bodyPr>
            <a:lstStyle/>
            <a:p>
              <a:r>
                <a:rPr lang="nb-NO" sz="2000" b="1"/>
                <a:t>Obligatorisk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9F5B51F-7AB8-4FD7-AAC0-9D8A047A13A6}"/>
              </a:ext>
            </a:extLst>
          </p:cNvPr>
          <p:cNvSpPr txBox="1"/>
          <p:nvPr/>
        </p:nvSpPr>
        <p:spPr>
          <a:xfrm>
            <a:off x="280377" y="2908135"/>
            <a:ext cx="2735469" cy="10556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Prosjekt må benyttes per kontrakt/avtale</a:t>
            </a:r>
          </a:p>
          <a:p>
            <a:endParaRPr lang="nb-NO" sz="1400"/>
          </a:p>
          <a:p>
            <a:r>
              <a:rPr lang="nb-NO" sz="1400"/>
              <a:t>Alle må ha minst 1 delprosjek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BBF01E-2663-432E-A1DE-AFCF5BDF7C62}"/>
              </a:ext>
            </a:extLst>
          </p:cNvPr>
          <p:cNvSpPr txBox="1"/>
          <p:nvPr/>
        </p:nvSpPr>
        <p:spPr>
          <a:xfrm>
            <a:off x="8785057" y="1506173"/>
            <a:ext cx="3019498" cy="57888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Hovedprosjekt benyttes kun ved særskilte behov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D5C44E7-0620-40A1-86A4-A82DDC1CCAAC}"/>
              </a:ext>
            </a:extLst>
          </p:cNvPr>
          <p:cNvSpPr txBox="1"/>
          <p:nvPr/>
        </p:nvSpPr>
        <p:spPr>
          <a:xfrm>
            <a:off x="8785057" y="5240564"/>
            <a:ext cx="3019498" cy="8172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Arbeidspakke benyttes hvis det er aktuelt å rapportere eller styre på arbeidspakk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4F694-98CD-4367-A5EC-1B2E0688400C}"/>
              </a:ext>
            </a:extLst>
          </p:cNvPr>
          <p:cNvSpPr txBox="1"/>
          <p:nvPr/>
        </p:nvSpPr>
        <p:spPr>
          <a:xfrm>
            <a:off x="4014934" y="2831725"/>
            <a:ext cx="155921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7FFEFD5-0182-4BE0-AEE3-1CF5FD2271FA}"/>
              </a:ext>
            </a:extLst>
          </p:cNvPr>
          <p:cNvSpPr txBox="1"/>
          <p:nvPr/>
        </p:nvSpPr>
        <p:spPr>
          <a:xfrm>
            <a:off x="4014934" y="4056940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99FCF1D-4395-4A2B-B1B6-D52008632310}"/>
              </a:ext>
            </a:extLst>
          </p:cNvPr>
          <p:cNvSpPr txBox="1"/>
          <p:nvPr/>
        </p:nvSpPr>
        <p:spPr>
          <a:xfrm>
            <a:off x="2301786" y="5574225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</a:t>
            </a:r>
            <a:r>
              <a:rPr lang="nb-NO" sz="1100" err="1"/>
              <a:t>Algorithm</a:t>
            </a:r>
            <a:r>
              <a:rPr lang="nb-NO" sz="1100"/>
              <a:t> </a:t>
            </a:r>
            <a:r>
              <a:rPr lang="nb-NO" sz="1100" err="1"/>
              <a:t>development</a:t>
            </a:r>
            <a:endParaRPr lang="nb-NO" sz="11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6B3D67B-ADBC-4F3A-8531-37C24A648A64}"/>
              </a:ext>
            </a:extLst>
          </p:cNvPr>
          <p:cNvSpPr txBox="1"/>
          <p:nvPr/>
        </p:nvSpPr>
        <p:spPr>
          <a:xfrm>
            <a:off x="3888309" y="5574225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</a:t>
            </a:r>
            <a:r>
              <a:rPr lang="nb-NO" sz="1100" err="1"/>
              <a:t>validation</a:t>
            </a:r>
            <a:r>
              <a:rPr lang="nb-NO" sz="1100"/>
              <a:t> </a:t>
            </a:r>
            <a:r>
              <a:rPr lang="nb-NO" sz="1100" err="1"/>
              <a:t>of</a:t>
            </a:r>
            <a:r>
              <a:rPr lang="nb-NO" sz="1100"/>
              <a:t> digital </a:t>
            </a:r>
            <a:r>
              <a:rPr lang="nb-NO" sz="1100" err="1"/>
              <a:t>mobility</a:t>
            </a:r>
            <a:endParaRPr lang="nb-NO" sz="11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D5B00C-58CD-464C-9319-5D088D35719D}"/>
              </a:ext>
            </a:extLst>
          </p:cNvPr>
          <p:cNvSpPr txBox="1"/>
          <p:nvPr/>
        </p:nvSpPr>
        <p:spPr>
          <a:xfrm>
            <a:off x="5332985" y="5552640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28282E-0C09-4487-BDA8-70C939AA4431}"/>
              </a:ext>
            </a:extLst>
          </p:cNvPr>
          <p:cNvSpPr txBox="1"/>
          <p:nvPr/>
        </p:nvSpPr>
        <p:spPr>
          <a:xfrm>
            <a:off x="6704021" y="5566819"/>
            <a:ext cx="1066448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</a:t>
            </a:r>
            <a:r>
              <a:rPr lang="nb-NO" sz="1100" err="1"/>
              <a:t>analysis</a:t>
            </a:r>
            <a:endParaRPr lang="nb-NO" sz="110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7EF9023-27D2-4CB3-8496-F6695A2388C3}"/>
              </a:ext>
            </a:extLst>
          </p:cNvPr>
          <p:cNvSpPr txBox="1"/>
          <p:nvPr/>
        </p:nvSpPr>
        <p:spPr>
          <a:xfrm>
            <a:off x="4014934" y="1556449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mobility</a:t>
            </a:r>
            <a:endParaRPr lang="nb-NO"/>
          </a:p>
        </p:txBody>
      </p:sp>
      <p:sp>
        <p:nvSpPr>
          <p:cNvPr id="39" name="TekstSylinder 66">
            <a:extLst>
              <a:ext uri="{FF2B5EF4-FFF2-40B4-BE49-F238E27FC236}">
                <a16:creationId xmlns:a16="http://schemas.microsoft.com/office/drawing/2014/main" id="{CAD9FBD9-92FA-4E3E-BD64-AA7E2F371B4D}"/>
              </a:ext>
            </a:extLst>
          </p:cNvPr>
          <p:cNvSpPr txBox="1"/>
          <p:nvPr/>
        </p:nvSpPr>
        <p:spPr>
          <a:xfrm>
            <a:off x="5283561" y="4394562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40" name="TekstSylinder 66">
            <a:extLst>
              <a:ext uri="{FF2B5EF4-FFF2-40B4-BE49-F238E27FC236}">
                <a16:creationId xmlns:a16="http://schemas.microsoft.com/office/drawing/2014/main" id="{535819B4-7EF9-4342-82CA-0F84A661E194}"/>
              </a:ext>
            </a:extLst>
          </p:cNvPr>
          <p:cNvSpPr txBox="1"/>
          <p:nvPr/>
        </p:nvSpPr>
        <p:spPr>
          <a:xfrm>
            <a:off x="5283561" y="4702605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</p:spTree>
    <p:extLst>
      <p:ext uri="{BB962C8B-B14F-4D97-AF65-F5344CB8AC3E}">
        <p14:creationId xmlns:p14="http://schemas.microsoft.com/office/powerpoint/2010/main" val="3042079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61F11443-189B-4375-9F26-0F4A3E97F0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57676" y="-5613589"/>
            <a:ext cx="1028701" cy="122399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C9B854-707F-4B3A-9F1C-618F99DC7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03"/>
            <a:ext cx="10515600" cy="999723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 med 1 finansiør og flere kostste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96E1A8-C4A0-44F7-9C4C-5E211DB9F004}"/>
              </a:ext>
            </a:extLst>
          </p:cNvPr>
          <p:cNvSpPr txBox="1"/>
          <p:nvPr/>
        </p:nvSpPr>
        <p:spPr>
          <a:xfrm>
            <a:off x="170185" y="2225357"/>
            <a:ext cx="3209706" cy="248578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Fordrer lik egenfinansieringsprosent gjennom hele prosjekte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988E82-A4F0-4BB9-8DB6-F8285CBF231A}"/>
              </a:ext>
            </a:extLst>
          </p:cNvPr>
          <p:cNvGrpSpPr/>
          <p:nvPr/>
        </p:nvGrpSpPr>
        <p:grpSpPr>
          <a:xfrm>
            <a:off x="3522887" y="1462928"/>
            <a:ext cx="5419474" cy="4557355"/>
            <a:chOff x="2992852" y="1428693"/>
            <a:chExt cx="5612735" cy="459313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58E4A6-D8FF-4210-B98B-D39B74417C13}"/>
                </a:ext>
              </a:extLst>
            </p:cNvPr>
            <p:cNvSpPr/>
            <p:nvPr/>
          </p:nvSpPr>
          <p:spPr>
            <a:xfrm>
              <a:off x="4746458" y="2640938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Prosjek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BF763B-A1AB-4C3A-8235-E0FDC32D0DF8}"/>
                </a:ext>
              </a:extLst>
            </p:cNvPr>
            <p:cNvSpPr/>
            <p:nvPr/>
          </p:nvSpPr>
          <p:spPr>
            <a:xfrm>
              <a:off x="3031208" y="3976192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elprosjekt</a:t>
              </a:r>
            </a:p>
            <a:p>
              <a:pPr algn="ctr"/>
              <a:r>
                <a:rPr lang="nb-NO"/>
                <a:t>Ksted 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2DC8BC9-2891-4D5E-B211-0E07409663F5}"/>
                </a:ext>
              </a:extLst>
            </p:cNvPr>
            <p:cNvSpPr/>
            <p:nvPr/>
          </p:nvSpPr>
          <p:spPr>
            <a:xfrm>
              <a:off x="4746458" y="1428693"/>
              <a:ext cx="1600200" cy="7820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Hovedprosjek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1CE0883-8A71-4D1A-99AB-B6A1C7D405FA}"/>
                </a:ext>
              </a:extLst>
            </p:cNvPr>
            <p:cNvSpPr/>
            <p:nvPr/>
          </p:nvSpPr>
          <p:spPr>
            <a:xfrm>
              <a:off x="2992852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1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80D6E2-B4B9-4681-953A-AF1970076952}"/>
                </a:ext>
              </a:extLst>
            </p:cNvPr>
            <p:cNvSpPr/>
            <p:nvPr/>
          </p:nvSpPr>
          <p:spPr>
            <a:xfrm>
              <a:off x="4607089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28D584E-E2BA-4859-B92A-EDFFEAB99FDE}"/>
                </a:ext>
              </a:extLst>
            </p:cNvPr>
            <p:cNvSpPr/>
            <p:nvPr/>
          </p:nvSpPr>
          <p:spPr>
            <a:xfrm>
              <a:off x="6110034" y="5570805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3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724BE17-2C2D-4B27-9B15-96B017932ECD}"/>
                </a:ext>
              </a:extLst>
            </p:cNvPr>
            <p:cNvSpPr/>
            <p:nvPr/>
          </p:nvSpPr>
          <p:spPr>
            <a:xfrm>
              <a:off x="7534775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n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26D80A9-7CDD-433B-AECA-AB9908AD2C80}"/>
              </a:ext>
            </a:extLst>
          </p:cNvPr>
          <p:cNvSpPr txBox="1"/>
          <p:nvPr/>
        </p:nvSpPr>
        <p:spPr>
          <a:xfrm>
            <a:off x="5232709" y="2854302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732492-5C2D-444E-A60F-BD6E0616472C}"/>
              </a:ext>
            </a:extLst>
          </p:cNvPr>
          <p:cNvSpPr txBox="1"/>
          <p:nvPr/>
        </p:nvSpPr>
        <p:spPr>
          <a:xfrm>
            <a:off x="3559922" y="3844995"/>
            <a:ext cx="1559217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  <a:p>
            <a:pPr algn="ctr"/>
            <a:r>
              <a:rPr lang="nb-NO"/>
              <a:t>INB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C36532-633F-4683-9ABF-2B606CFEA78F}"/>
              </a:ext>
            </a:extLst>
          </p:cNvPr>
          <p:cNvSpPr txBox="1"/>
          <p:nvPr/>
        </p:nvSpPr>
        <p:spPr>
          <a:xfrm>
            <a:off x="3491947" y="5596802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</a:t>
            </a:r>
            <a:r>
              <a:rPr lang="nb-NO" sz="1100" err="1"/>
              <a:t>Algorithm</a:t>
            </a:r>
            <a:r>
              <a:rPr lang="nb-NO" sz="1100"/>
              <a:t> </a:t>
            </a:r>
            <a:r>
              <a:rPr lang="nb-NO" sz="1100" err="1"/>
              <a:t>development</a:t>
            </a:r>
            <a:endParaRPr lang="nb-NO" sz="1100"/>
          </a:p>
          <a:p>
            <a:pPr algn="ctr"/>
            <a:endParaRPr lang="nb-NO" sz="11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48BE06-CDDA-4E98-B626-8EBE12FBA29D}"/>
              </a:ext>
            </a:extLst>
          </p:cNvPr>
          <p:cNvSpPr txBox="1"/>
          <p:nvPr/>
        </p:nvSpPr>
        <p:spPr>
          <a:xfrm>
            <a:off x="5057375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</a:t>
            </a:r>
            <a:r>
              <a:rPr lang="nb-NO" sz="1100" err="1"/>
              <a:t>validation</a:t>
            </a:r>
            <a:r>
              <a:rPr lang="nb-NO" sz="1100"/>
              <a:t> </a:t>
            </a:r>
            <a:r>
              <a:rPr lang="nb-NO" sz="1100" err="1"/>
              <a:t>of</a:t>
            </a:r>
            <a:r>
              <a:rPr lang="nb-NO" sz="1100"/>
              <a:t> digital </a:t>
            </a:r>
            <a:r>
              <a:rPr lang="nb-NO" sz="1100" err="1"/>
              <a:t>mobility</a:t>
            </a:r>
            <a:endParaRPr lang="nb-NO" sz="11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9AFDAE-5230-4100-9433-301D0D51847A}"/>
              </a:ext>
            </a:extLst>
          </p:cNvPr>
          <p:cNvSpPr txBox="1"/>
          <p:nvPr/>
        </p:nvSpPr>
        <p:spPr>
          <a:xfrm>
            <a:off x="6532736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  <a:p>
            <a:pPr algn="ctr"/>
            <a:endParaRPr lang="nb-NO" sz="11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ECF8A9-325A-4A91-A81F-81D255C94A64}"/>
              </a:ext>
            </a:extLst>
          </p:cNvPr>
          <p:cNvSpPr txBox="1"/>
          <p:nvPr/>
        </p:nvSpPr>
        <p:spPr>
          <a:xfrm>
            <a:off x="7921796" y="5589396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</a:t>
            </a:r>
            <a:r>
              <a:rPr lang="nb-NO" sz="1100" err="1"/>
              <a:t>analysis</a:t>
            </a:r>
            <a:endParaRPr lang="nb-NO" sz="1100"/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42B159-8C37-4083-933B-E571460E0567}"/>
              </a:ext>
            </a:extLst>
          </p:cNvPr>
          <p:cNvSpPr txBox="1"/>
          <p:nvPr/>
        </p:nvSpPr>
        <p:spPr>
          <a:xfrm>
            <a:off x="5232709" y="1579026"/>
            <a:ext cx="150718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mobility</a:t>
            </a:r>
            <a:endParaRPr lang="nb-NO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9751DBA-432E-4FC7-9425-13095621EC88}"/>
              </a:ext>
            </a:extLst>
          </p:cNvPr>
          <p:cNvSpPr/>
          <p:nvPr/>
        </p:nvSpPr>
        <p:spPr>
          <a:xfrm>
            <a:off x="6550760" y="3965460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Ksted 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6C8BC6E-EFA1-4AE3-B79A-D94CB734E5D0}"/>
              </a:ext>
            </a:extLst>
          </p:cNvPr>
          <p:cNvSpPr txBox="1"/>
          <p:nvPr/>
        </p:nvSpPr>
        <p:spPr>
          <a:xfrm>
            <a:off x="6543702" y="3812792"/>
            <a:ext cx="1559217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  <a:p>
            <a:pPr algn="ctr"/>
            <a:r>
              <a:rPr lang="nb-NO"/>
              <a:t>ISB</a:t>
            </a:r>
          </a:p>
        </p:txBody>
      </p:sp>
      <p:sp>
        <p:nvSpPr>
          <p:cNvPr id="54" name="TekstSylinder 66">
            <a:extLst>
              <a:ext uri="{FF2B5EF4-FFF2-40B4-BE49-F238E27FC236}">
                <a16:creationId xmlns:a16="http://schemas.microsoft.com/office/drawing/2014/main" id="{A26A1403-FD8D-4607-BA43-CF0180084C17}"/>
              </a:ext>
            </a:extLst>
          </p:cNvPr>
          <p:cNvSpPr txBox="1"/>
          <p:nvPr/>
        </p:nvSpPr>
        <p:spPr>
          <a:xfrm>
            <a:off x="7921796" y="4263148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55" name="TekstSylinder 66">
            <a:extLst>
              <a:ext uri="{FF2B5EF4-FFF2-40B4-BE49-F238E27FC236}">
                <a16:creationId xmlns:a16="http://schemas.microsoft.com/office/drawing/2014/main" id="{072A4EA7-EE51-47B5-BD5D-DD16A4F0729F}"/>
              </a:ext>
            </a:extLst>
          </p:cNvPr>
          <p:cNvSpPr txBox="1"/>
          <p:nvPr/>
        </p:nvSpPr>
        <p:spPr>
          <a:xfrm>
            <a:off x="7921796" y="4571191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56" name="TekstSylinder 66">
            <a:extLst>
              <a:ext uri="{FF2B5EF4-FFF2-40B4-BE49-F238E27FC236}">
                <a16:creationId xmlns:a16="http://schemas.microsoft.com/office/drawing/2014/main" id="{7779429F-313C-4507-B1AA-7DC8BD0E0C53}"/>
              </a:ext>
            </a:extLst>
          </p:cNvPr>
          <p:cNvSpPr txBox="1"/>
          <p:nvPr/>
        </p:nvSpPr>
        <p:spPr>
          <a:xfrm>
            <a:off x="4652795" y="4329743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57" name="TekstSylinder 66">
            <a:extLst>
              <a:ext uri="{FF2B5EF4-FFF2-40B4-BE49-F238E27FC236}">
                <a16:creationId xmlns:a16="http://schemas.microsoft.com/office/drawing/2014/main" id="{75CE720A-2E21-4026-8CCB-E396D7155859}"/>
              </a:ext>
            </a:extLst>
          </p:cNvPr>
          <p:cNvSpPr txBox="1"/>
          <p:nvPr/>
        </p:nvSpPr>
        <p:spPr>
          <a:xfrm>
            <a:off x="4642276" y="4622736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EE06053-E957-42C7-94E9-56F76DE878BF}"/>
              </a:ext>
            </a:extLst>
          </p:cNvPr>
          <p:cNvSpPr txBox="1"/>
          <p:nvPr/>
        </p:nvSpPr>
        <p:spPr>
          <a:xfrm>
            <a:off x="170186" y="4862624"/>
            <a:ext cx="3149582" cy="81724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Fordel: </a:t>
            </a:r>
            <a:r>
              <a:rPr lang="nb-NO" sz="1400"/>
              <a:t>Muliggjør ulik egenfinansiering</a:t>
            </a:r>
            <a:endParaRPr lang="nb-NO" sz="1400" b="1"/>
          </a:p>
          <a:p>
            <a:r>
              <a:rPr lang="nb-NO" sz="1400" b="1"/>
              <a:t>Ulempe: </a:t>
            </a:r>
            <a:r>
              <a:rPr lang="nb-NO" sz="1400"/>
              <a:t>økt ressursbruk, da man har flere delprosjekter å forholde seg til. 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4B5BCFB8-B556-4B2A-B814-AE8DC700527C}"/>
              </a:ext>
            </a:extLst>
          </p:cNvPr>
          <p:cNvCxnSpPr>
            <a:stCxn id="32" idx="2"/>
            <a:endCxn id="6" idx="0"/>
          </p:cNvCxnSpPr>
          <p:nvPr/>
        </p:nvCxnSpPr>
        <p:spPr>
          <a:xfrm rot="16200000" flipH="1">
            <a:off x="5767296" y="2444364"/>
            <a:ext cx="440374" cy="23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6B6314F-AD5F-43D2-8837-2108C59C5495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5400000">
            <a:off x="4962446" y="2818777"/>
            <a:ext cx="403303" cy="164913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A8A687D-ACA6-4B06-86DB-F0AD71C1E5C1}"/>
              </a:ext>
            </a:extLst>
          </p:cNvPr>
          <p:cNvCxnSpPr>
            <a:cxnSpLocks/>
            <a:stCxn id="6" idx="2"/>
            <a:endCxn id="37" idx="0"/>
          </p:cNvCxnSpPr>
          <p:nvPr/>
        </p:nvCxnSpPr>
        <p:spPr>
          <a:xfrm rot="16200000" flipH="1">
            <a:off x="6470437" y="2959918"/>
            <a:ext cx="371100" cy="133464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74E09725-DA84-4710-9F29-5E968A64EE0A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rot="5400000">
            <a:off x="3768113" y="5025383"/>
            <a:ext cx="828477" cy="31436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CC7A3CF6-DCFD-4AD0-9F8D-07C72BB364C2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 rot="16200000" flipH="1">
            <a:off x="4562886" y="4544970"/>
            <a:ext cx="804359" cy="125106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7D633726-9DD5-45C0-B6AE-332AB22176CC}"/>
              </a:ext>
            </a:extLst>
          </p:cNvPr>
          <p:cNvCxnSpPr>
            <a:cxnSpLocks/>
            <a:stCxn id="27" idx="2"/>
            <a:endCxn id="30" idx="0"/>
          </p:cNvCxnSpPr>
          <p:nvPr/>
        </p:nvCxnSpPr>
        <p:spPr>
          <a:xfrm rot="16200000" flipH="1">
            <a:off x="5300566" y="3807289"/>
            <a:ext cx="804359" cy="2726429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65C25716-C4CE-485D-8A33-AD6A92BAD5E7}"/>
              </a:ext>
            </a:extLst>
          </p:cNvPr>
          <p:cNvCxnSpPr>
            <a:cxnSpLocks/>
            <a:stCxn id="27" idx="2"/>
            <a:endCxn id="16" idx="0"/>
          </p:cNvCxnSpPr>
          <p:nvPr/>
        </p:nvCxnSpPr>
        <p:spPr>
          <a:xfrm rot="16200000" flipH="1">
            <a:off x="5980281" y="3127575"/>
            <a:ext cx="804360" cy="408586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62D7C564-FECB-4CCE-A5C8-A9213D9DEAE2}"/>
              </a:ext>
            </a:extLst>
          </p:cNvPr>
          <p:cNvCxnSpPr>
            <a:cxnSpLocks/>
            <a:stCxn id="37" idx="2"/>
            <a:endCxn id="30" idx="3"/>
          </p:cNvCxnSpPr>
          <p:nvPr/>
        </p:nvCxnSpPr>
        <p:spPr>
          <a:xfrm rot="16200000" flipH="1">
            <a:off x="6850606" y="5208826"/>
            <a:ext cx="1221283" cy="275873"/>
          </a:xfrm>
          <a:prstGeom prst="bentConnector4">
            <a:avLst>
              <a:gd name="adj1" fmla="val 21290"/>
              <a:gd name="adj2" fmla="val 158300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682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7" grpId="0" animBg="1"/>
      <p:bldP spid="54" grpId="0" animBg="1"/>
      <p:bldP spid="55" grpId="0" animBg="1"/>
      <p:bldP spid="56" grpId="0" animBg="1"/>
      <p:bldP spid="5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Rett linje 51"/>
          <p:cNvCxnSpPr/>
          <p:nvPr/>
        </p:nvCxnSpPr>
        <p:spPr>
          <a:xfrm>
            <a:off x="9250690" y="1384751"/>
            <a:ext cx="161" cy="540933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linje 53"/>
          <p:cNvCxnSpPr/>
          <p:nvPr/>
        </p:nvCxnSpPr>
        <p:spPr>
          <a:xfrm>
            <a:off x="2614524" y="1364509"/>
            <a:ext cx="161" cy="54093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ett linje 54"/>
          <p:cNvCxnSpPr/>
          <p:nvPr/>
        </p:nvCxnSpPr>
        <p:spPr>
          <a:xfrm>
            <a:off x="4669275" y="1334244"/>
            <a:ext cx="161" cy="540933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ett linje 55"/>
          <p:cNvCxnSpPr/>
          <p:nvPr/>
        </p:nvCxnSpPr>
        <p:spPr>
          <a:xfrm>
            <a:off x="6944709" y="1357004"/>
            <a:ext cx="161" cy="540933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tt linje 57"/>
          <p:cNvCxnSpPr/>
          <p:nvPr/>
        </p:nvCxnSpPr>
        <p:spPr>
          <a:xfrm>
            <a:off x="11961089" y="1335300"/>
            <a:ext cx="161" cy="540933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566CF7BB-10BC-AD4D-A83D-09E2CE2A646B}"/>
              </a:ext>
            </a:extLst>
          </p:cNvPr>
          <p:cNvSpPr txBox="1"/>
          <p:nvPr/>
        </p:nvSpPr>
        <p:spPr>
          <a:xfrm>
            <a:off x="967059" y="-51609"/>
            <a:ext cx="1025793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00" b="1" err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Fase</a:t>
            </a:r>
            <a:r>
              <a:rPr lang="en-US" sz="3000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 2: TRINNVIS INNFØRING BOTT ØKONOMIMODELL</a:t>
            </a:r>
          </a:p>
        </p:txBody>
      </p:sp>
      <p:sp>
        <p:nvSpPr>
          <p:cNvPr id="5" name="Freeform 3">
            <a:extLst>
              <a:ext uri="{FF2B5EF4-FFF2-40B4-BE49-F238E27FC236}">
                <a16:creationId xmlns:a16="http://schemas.microsoft.com/office/drawing/2014/main" id="{40752904-C967-3E42-A16B-9B8439A29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60" y="495707"/>
            <a:ext cx="1186621" cy="1354176"/>
          </a:xfrm>
          <a:custGeom>
            <a:avLst/>
            <a:gdLst>
              <a:gd name="T0" fmla="*/ 339 w 1903"/>
              <a:gd name="T1" fmla="*/ 338 h 2176"/>
              <a:gd name="T2" fmla="*/ 339 w 1903"/>
              <a:gd name="T3" fmla="*/ 338 h 2176"/>
              <a:gd name="T4" fmla="*/ 1564 w 1903"/>
              <a:gd name="T5" fmla="*/ 338 h 2176"/>
              <a:gd name="T6" fmla="*/ 1564 w 1903"/>
              <a:gd name="T7" fmla="*/ 338 h 2176"/>
              <a:gd name="T8" fmla="*/ 1564 w 1903"/>
              <a:gd name="T9" fmla="*/ 1562 h 2176"/>
              <a:gd name="T10" fmla="*/ 951 w 1903"/>
              <a:gd name="T11" fmla="*/ 2175 h 2176"/>
              <a:gd name="T12" fmla="*/ 339 w 1903"/>
              <a:gd name="T13" fmla="*/ 1562 h 2176"/>
              <a:gd name="T14" fmla="*/ 339 w 1903"/>
              <a:gd name="T15" fmla="*/ 1562 h 2176"/>
              <a:gd name="T16" fmla="*/ 339 w 1903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3" h="2176">
                <a:moveTo>
                  <a:pt x="339" y="338"/>
                </a:moveTo>
                <a:lnTo>
                  <a:pt x="339" y="338"/>
                </a:lnTo>
                <a:cubicBezTo>
                  <a:pt x="677" y="0"/>
                  <a:pt x="1225" y="0"/>
                  <a:pt x="1564" y="338"/>
                </a:cubicBezTo>
                <a:lnTo>
                  <a:pt x="1564" y="338"/>
                </a:lnTo>
                <a:cubicBezTo>
                  <a:pt x="1902" y="676"/>
                  <a:pt x="1902" y="1224"/>
                  <a:pt x="1564" y="1562"/>
                </a:cubicBezTo>
                <a:lnTo>
                  <a:pt x="951" y="2175"/>
                </a:lnTo>
                <a:lnTo>
                  <a:pt x="339" y="1562"/>
                </a:lnTo>
                <a:lnTo>
                  <a:pt x="339" y="1562"/>
                </a:lnTo>
                <a:cubicBezTo>
                  <a:pt x="0" y="1224"/>
                  <a:pt x="0" y="676"/>
                  <a:pt x="339" y="3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7" name="Freeform 71">
            <a:extLst>
              <a:ext uri="{FF2B5EF4-FFF2-40B4-BE49-F238E27FC236}">
                <a16:creationId xmlns:a16="http://schemas.microsoft.com/office/drawing/2014/main" id="{293D606E-0CB6-0040-B8DD-4AC30C160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8910" y="495707"/>
            <a:ext cx="1186621" cy="1354176"/>
          </a:xfrm>
          <a:custGeom>
            <a:avLst/>
            <a:gdLst>
              <a:gd name="T0" fmla="*/ 338 w 1903"/>
              <a:gd name="T1" fmla="*/ 338 h 2176"/>
              <a:gd name="T2" fmla="*/ 338 w 1903"/>
              <a:gd name="T3" fmla="*/ 338 h 2176"/>
              <a:gd name="T4" fmla="*/ 1564 w 1903"/>
              <a:gd name="T5" fmla="*/ 338 h 2176"/>
              <a:gd name="T6" fmla="*/ 1564 w 1903"/>
              <a:gd name="T7" fmla="*/ 338 h 2176"/>
              <a:gd name="T8" fmla="*/ 1564 w 1903"/>
              <a:gd name="T9" fmla="*/ 1562 h 2176"/>
              <a:gd name="T10" fmla="*/ 951 w 1903"/>
              <a:gd name="T11" fmla="*/ 2175 h 2176"/>
              <a:gd name="T12" fmla="*/ 338 w 1903"/>
              <a:gd name="T13" fmla="*/ 1562 h 2176"/>
              <a:gd name="T14" fmla="*/ 338 w 1903"/>
              <a:gd name="T15" fmla="*/ 1562 h 2176"/>
              <a:gd name="T16" fmla="*/ 338 w 1903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3" h="2176">
                <a:moveTo>
                  <a:pt x="338" y="338"/>
                </a:moveTo>
                <a:lnTo>
                  <a:pt x="338" y="338"/>
                </a:lnTo>
                <a:cubicBezTo>
                  <a:pt x="677" y="0"/>
                  <a:pt x="1226" y="0"/>
                  <a:pt x="1564" y="338"/>
                </a:cubicBezTo>
                <a:lnTo>
                  <a:pt x="1564" y="338"/>
                </a:lnTo>
                <a:cubicBezTo>
                  <a:pt x="1902" y="676"/>
                  <a:pt x="1902" y="1224"/>
                  <a:pt x="1564" y="1562"/>
                </a:cubicBezTo>
                <a:lnTo>
                  <a:pt x="951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9" name="Freeform 139">
            <a:extLst>
              <a:ext uri="{FF2B5EF4-FFF2-40B4-BE49-F238E27FC236}">
                <a16:creationId xmlns:a16="http://schemas.microsoft.com/office/drawing/2014/main" id="{2ED9781A-3652-6948-A67B-E371D6404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1515" y="495707"/>
            <a:ext cx="1183874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4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11" name="Freeform 207">
            <a:extLst>
              <a:ext uri="{FF2B5EF4-FFF2-40B4-BE49-F238E27FC236}">
                <a16:creationId xmlns:a16="http://schemas.microsoft.com/office/drawing/2014/main" id="{1B71C3A1-0776-F546-B89C-F13C50B17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4386" y="495707"/>
            <a:ext cx="1183876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5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17" name="Freeform 207">
            <a:extLst>
              <a:ext uri="{FF2B5EF4-FFF2-40B4-BE49-F238E27FC236}">
                <a16:creationId xmlns:a16="http://schemas.microsoft.com/office/drawing/2014/main" id="{841F330F-BC36-594C-8AF2-CD8C766A8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4965" y="554230"/>
            <a:ext cx="1183876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5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F9B096-0F05-D148-ABFA-CA1C8550BBB0}"/>
              </a:ext>
            </a:extLst>
          </p:cNvPr>
          <p:cNvSpPr txBox="1"/>
          <p:nvPr/>
        </p:nvSpPr>
        <p:spPr>
          <a:xfrm>
            <a:off x="4764584" y="2888928"/>
            <a:ext cx="2092239" cy="106182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3</a:t>
            </a:r>
          </a:p>
          <a:p>
            <a:pPr algn="ctr"/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er</a:t>
            </a: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: </a:t>
            </a:r>
            <a:b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: 20.9 BOA: 20.10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le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ksisterende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sjek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å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 og BOA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onvertert</a:t>
            </a:r>
            <a:endParaRPr lang="en-US" sz="100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2B861B-385A-B74B-A10D-E9FECEF727ED}"/>
              </a:ext>
            </a:extLst>
          </p:cNvPr>
          <p:cNvSpPr txBox="1"/>
          <p:nvPr/>
        </p:nvSpPr>
        <p:spPr>
          <a:xfrm>
            <a:off x="7239593" y="2846125"/>
            <a:ext cx="1887055" cy="90024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4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</a:t>
            </a:r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kke</a:t>
            </a: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tsatt</a:t>
            </a:r>
            <a:endParaRPr lang="en-US" sz="1200" b="1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Årsbudsjet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BFV for 2022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lever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i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ny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økonomimodell</a:t>
            </a:r>
            <a:endParaRPr lang="en-US" sz="105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8CFBF5B3-DAEC-1045-9BB1-975FE7F18B24}"/>
              </a:ext>
            </a:extLst>
          </p:cNvPr>
          <p:cNvSpPr txBox="1">
            <a:spLocks/>
          </p:cNvSpPr>
          <p:nvPr/>
        </p:nvSpPr>
        <p:spPr>
          <a:xfrm>
            <a:off x="762000" y="2043620"/>
            <a:ext cx="1648939" cy="474617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OPPLÆRING I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ØKONOMIMODEL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37C0503D-3C1B-0F4A-9873-D6364FA07F88}"/>
              </a:ext>
            </a:extLst>
          </p:cNvPr>
          <p:cNvSpPr txBox="1">
            <a:spLocks/>
          </p:cNvSpPr>
          <p:nvPr/>
        </p:nvSpPr>
        <p:spPr>
          <a:xfrm>
            <a:off x="2851854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BESTEMME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PROSJEKTSTRUKTUR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 FOR ØKONOMISTYRING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E689D179-5AAC-FE47-8295-6612534147D0}"/>
              </a:ext>
            </a:extLst>
          </p:cNvPr>
          <p:cNvSpPr txBox="1">
            <a:spLocks/>
          </p:cNvSpPr>
          <p:nvPr/>
        </p:nvSpPr>
        <p:spPr>
          <a:xfrm>
            <a:off x="4986237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KONVERTERING AV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EKSISTERENDE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PROSJEKTER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C018CE84-EB17-DE42-BF78-9BE2513687D9}"/>
              </a:ext>
            </a:extLst>
          </p:cNvPr>
          <p:cNvSpPr txBox="1">
            <a:spLocks/>
          </p:cNvSpPr>
          <p:nvPr/>
        </p:nvSpPr>
        <p:spPr>
          <a:xfrm>
            <a:off x="7191853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LEGGE BUDSJETT MED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NY ØKONOMIMODELL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I BEVISST PLAN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59BA52F-5E97-4749-BDB8-176FB9BD5FA3}"/>
              </a:ext>
            </a:extLst>
          </p:cNvPr>
          <p:cNvSpPr txBox="1">
            <a:spLocks/>
          </p:cNvSpPr>
          <p:nvPr/>
        </p:nvSpPr>
        <p:spPr>
          <a:xfrm>
            <a:off x="9781061" y="1870048"/>
            <a:ext cx="1733277" cy="821763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BUDSJETT OG REGNSKAP </a:t>
            </a:r>
          </a:p>
          <a:p>
            <a:pPr>
              <a:lnSpc>
                <a:spcPct val="100000"/>
              </a:lnSpc>
            </a:pP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I BEVISST INNSIKT OG PLAN MED NY ØKONOMIMODELL</a:t>
            </a:r>
          </a:p>
        </p:txBody>
      </p:sp>
      <p:sp>
        <p:nvSpPr>
          <p:cNvPr id="28" name="Freeform 1053">
            <a:extLst>
              <a:ext uri="{FF2B5EF4-FFF2-40B4-BE49-F238E27FC236}">
                <a16:creationId xmlns:a16="http://schemas.microsoft.com/office/drawing/2014/main" id="{AA88CB9A-FA38-2048-8473-3A066EABBF4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3591" y="863704"/>
            <a:ext cx="525463" cy="527050"/>
          </a:xfrm>
          <a:custGeom>
            <a:avLst/>
            <a:gdLst>
              <a:gd name="T0" fmla="*/ 50512908 w 290150"/>
              <a:gd name="T1" fmla="*/ 112216769 h 290153"/>
              <a:gd name="T2" fmla="*/ 71643929 w 290150"/>
              <a:gd name="T3" fmla="*/ 112216769 h 290153"/>
              <a:gd name="T4" fmla="*/ 72851536 w 290150"/>
              <a:gd name="T5" fmla="*/ 104874323 h 290153"/>
              <a:gd name="T6" fmla="*/ 73303909 w 290150"/>
              <a:gd name="T7" fmla="*/ 125807186 h 290153"/>
              <a:gd name="T8" fmla="*/ 47041501 w 290150"/>
              <a:gd name="T9" fmla="*/ 112216769 h 290153"/>
              <a:gd name="T10" fmla="*/ 60928191 w 290150"/>
              <a:gd name="T11" fmla="*/ 92618361 h 290153"/>
              <a:gd name="T12" fmla="*/ 65299099 w 290150"/>
              <a:gd name="T13" fmla="*/ 96900809 h 290153"/>
              <a:gd name="T14" fmla="*/ 69067784 w 290150"/>
              <a:gd name="T15" fmla="*/ 96900809 h 290153"/>
              <a:gd name="T16" fmla="*/ 60928191 w 290150"/>
              <a:gd name="T17" fmla="*/ 88794158 h 290153"/>
              <a:gd name="T18" fmla="*/ 97925242 w 290150"/>
              <a:gd name="T19" fmla="*/ 95540301 h 290153"/>
              <a:gd name="T20" fmla="*/ 119137542 w 290150"/>
              <a:gd name="T21" fmla="*/ 95540301 h 290153"/>
              <a:gd name="T22" fmla="*/ 120521184 w 290150"/>
              <a:gd name="T23" fmla="*/ 88354753 h 290153"/>
              <a:gd name="T24" fmla="*/ 120982084 w 290150"/>
              <a:gd name="T25" fmla="*/ 109287812 h 290153"/>
              <a:gd name="T26" fmla="*/ 94083017 w 290150"/>
              <a:gd name="T27" fmla="*/ 95540301 h 290153"/>
              <a:gd name="T28" fmla="*/ 5225161 w 290150"/>
              <a:gd name="T29" fmla="*/ 88198331 h 290153"/>
              <a:gd name="T30" fmla="*/ 3841671 w 290150"/>
              <a:gd name="T31" fmla="*/ 105538387 h 290153"/>
              <a:gd name="T32" fmla="*/ 23210418 w 290150"/>
              <a:gd name="T33" fmla="*/ 90854292 h 290153"/>
              <a:gd name="T34" fmla="*/ 28743105 w 290150"/>
              <a:gd name="T35" fmla="*/ 95540301 h 290153"/>
              <a:gd name="T36" fmla="*/ 1843151 w 290150"/>
              <a:gd name="T37" fmla="*/ 109287812 h 290153"/>
              <a:gd name="T38" fmla="*/ 2613370 w 290150"/>
              <a:gd name="T39" fmla="*/ 88354753 h 290153"/>
              <a:gd name="T40" fmla="*/ 103749164 w 290150"/>
              <a:gd name="T41" fmla="*/ 80534003 h 290153"/>
              <a:gd name="T42" fmla="*/ 108120542 w 290150"/>
              <a:gd name="T43" fmla="*/ 76170591 h 290153"/>
              <a:gd name="T44" fmla="*/ 14113170 w 290150"/>
              <a:gd name="T45" fmla="*/ 84897974 h 290153"/>
              <a:gd name="T46" fmla="*/ 108120542 w 290150"/>
              <a:gd name="T47" fmla="*/ 72274450 h 290153"/>
              <a:gd name="T48" fmla="*/ 100131720 w 290150"/>
              <a:gd name="T49" fmla="*/ 80534003 h 290153"/>
              <a:gd name="T50" fmla="*/ 22026811 w 290150"/>
              <a:gd name="T51" fmla="*/ 80534003 h 290153"/>
              <a:gd name="T52" fmla="*/ 14113170 w 290150"/>
              <a:gd name="T53" fmla="*/ 72274450 h 290153"/>
              <a:gd name="T54" fmla="*/ 63008703 w 290150"/>
              <a:gd name="T55" fmla="*/ 80412125 h 290153"/>
              <a:gd name="T56" fmla="*/ 59137589 w 290150"/>
              <a:gd name="T57" fmla="*/ 62603942 h 290153"/>
              <a:gd name="T58" fmla="*/ 80256690 w 290150"/>
              <a:gd name="T59" fmla="*/ 57099948 h 290153"/>
              <a:gd name="T60" fmla="*/ 93931211 w 290150"/>
              <a:gd name="T61" fmla="*/ 80409045 h 290153"/>
              <a:gd name="T62" fmla="*/ 76610144 w 290150"/>
              <a:gd name="T63" fmla="*/ 80409045 h 290153"/>
              <a:gd name="T64" fmla="*/ 43722759 w 290150"/>
              <a:gd name="T65" fmla="*/ 55066252 h 290153"/>
              <a:gd name="T66" fmla="*/ 43722759 w 290150"/>
              <a:gd name="T67" fmla="*/ 82442127 h 290153"/>
              <a:gd name="T68" fmla="*/ 30048198 w 290150"/>
              <a:gd name="T69" fmla="*/ 78531644 h 290153"/>
              <a:gd name="T70" fmla="*/ 43722759 w 290150"/>
              <a:gd name="T71" fmla="*/ 55066252 h 290153"/>
              <a:gd name="T72" fmla="*/ 63252607 w 290150"/>
              <a:gd name="T73" fmla="*/ 25159684 h 290153"/>
              <a:gd name="T74" fmla="*/ 72601980 w 290150"/>
              <a:gd name="T75" fmla="*/ 29060761 h 290153"/>
              <a:gd name="T76" fmla="*/ 61566426 w 290150"/>
              <a:gd name="T77" fmla="*/ 40455101 h 290153"/>
              <a:gd name="T78" fmla="*/ 50225094 w 290150"/>
              <a:gd name="T79" fmla="*/ 29060761 h 290153"/>
              <a:gd name="T80" fmla="*/ 59574112 w 290150"/>
              <a:gd name="T81" fmla="*/ 25159684 h 290153"/>
              <a:gd name="T82" fmla="*/ 61230865 w 290150"/>
              <a:gd name="T83" fmla="*/ 3765819 h 290153"/>
              <a:gd name="T84" fmla="*/ 84052482 w 290150"/>
              <a:gd name="T85" fmla="*/ 27296629 h 290153"/>
              <a:gd name="T86" fmla="*/ 87881874 w 290150"/>
              <a:gd name="T87" fmla="*/ 27296629 h 290153"/>
              <a:gd name="T88" fmla="*/ 61230865 w 290150"/>
              <a:gd name="T89" fmla="*/ 0 h 29015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90150" h="290153">
                <a:moveTo>
                  <a:pt x="122891" y="241515"/>
                </a:moveTo>
                <a:cubicBezTo>
                  <a:pt x="124674" y="242596"/>
                  <a:pt x="125030" y="245478"/>
                  <a:pt x="123604" y="247639"/>
                </a:cubicBezTo>
                <a:cubicBezTo>
                  <a:pt x="121108" y="250882"/>
                  <a:pt x="119325" y="254485"/>
                  <a:pt x="119325" y="258808"/>
                </a:cubicBezTo>
                <a:lnTo>
                  <a:pt x="119325" y="281506"/>
                </a:lnTo>
                <a:lnTo>
                  <a:pt x="169243" y="281506"/>
                </a:lnTo>
                <a:lnTo>
                  <a:pt x="169243" y="258808"/>
                </a:lnTo>
                <a:cubicBezTo>
                  <a:pt x="169243" y="254485"/>
                  <a:pt x="167460" y="250882"/>
                  <a:pt x="164964" y="247639"/>
                </a:cubicBezTo>
                <a:cubicBezTo>
                  <a:pt x="163538" y="245478"/>
                  <a:pt x="163894" y="242596"/>
                  <a:pt x="166034" y="241515"/>
                </a:cubicBezTo>
                <a:cubicBezTo>
                  <a:pt x="167460" y="239713"/>
                  <a:pt x="170312" y="239713"/>
                  <a:pt x="172095" y="241875"/>
                </a:cubicBezTo>
                <a:cubicBezTo>
                  <a:pt x="175660" y="246919"/>
                  <a:pt x="177443" y="252683"/>
                  <a:pt x="177443" y="258808"/>
                </a:cubicBezTo>
                <a:lnTo>
                  <a:pt x="177443" y="285469"/>
                </a:lnTo>
                <a:cubicBezTo>
                  <a:pt x="177443" y="288352"/>
                  <a:pt x="175660" y="290153"/>
                  <a:pt x="173165" y="290153"/>
                </a:cubicBezTo>
                <a:lnTo>
                  <a:pt x="115047" y="290153"/>
                </a:lnTo>
                <a:cubicBezTo>
                  <a:pt x="112908" y="290153"/>
                  <a:pt x="111125" y="288352"/>
                  <a:pt x="111125" y="285469"/>
                </a:cubicBezTo>
                <a:lnTo>
                  <a:pt x="111125" y="258808"/>
                </a:lnTo>
                <a:cubicBezTo>
                  <a:pt x="111125" y="252683"/>
                  <a:pt x="112908" y="246919"/>
                  <a:pt x="116830" y="241875"/>
                </a:cubicBezTo>
                <a:cubicBezTo>
                  <a:pt x="118256" y="239713"/>
                  <a:pt x="121108" y="239713"/>
                  <a:pt x="122891" y="241515"/>
                </a:cubicBezTo>
                <a:close/>
                <a:moveTo>
                  <a:pt x="143929" y="213608"/>
                </a:moveTo>
                <a:cubicBezTo>
                  <a:pt x="138944" y="213608"/>
                  <a:pt x="134315" y="218194"/>
                  <a:pt x="134315" y="223485"/>
                </a:cubicBezTo>
                <a:cubicBezTo>
                  <a:pt x="134315" y="229483"/>
                  <a:pt x="138944" y="234069"/>
                  <a:pt x="143929" y="234069"/>
                </a:cubicBezTo>
                <a:cubicBezTo>
                  <a:pt x="149626" y="234069"/>
                  <a:pt x="154255" y="229483"/>
                  <a:pt x="154255" y="223485"/>
                </a:cubicBezTo>
                <a:cubicBezTo>
                  <a:pt x="154255" y="218194"/>
                  <a:pt x="149626" y="213608"/>
                  <a:pt x="143929" y="213608"/>
                </a:cubicBezTo>
                <a:close/>
                <a:moveTo>
                  <a:pt x="143929" y="204788"/>
                </a:moveTo>
                <a:cubicBezTo>
                  <a:pt x="154611" y="204788"/>
                  <a:pt x="163157" y="213608"/>
                  <a:pt x="163157" y="223485"/>
                </a:cubicBezTo>
                <a:cubicBezTo>
                  <a:pt x="163157" y="234069"/>
                  <a:pt x="154611" y="242535"/>
                  <a:pt x="143929" y="242535"/>
                </a:cubicBezTo>
                <a:cubicBezTo>
                  <a:pt x="133959" y="242535"/>
                  <a:pt x="125413" y="234069"/>
                  <a:pt x="125413" y="223485"/>
                </a:cubicBezTo>
                <a:cubicBezTo>
                  <a:pt x="125413" y="213608"/>
                  <a:pt x="133959" y="204788"/>
                  <a:pt x="143929" y="204788"/>
                </a:cubicBezTo>
                <a:close/>
                <a:moveTo>
                  <a:pt x="234596" y="203415"/>
                </a:moveTo>
                <a:cubicBezTo>
                  <a:pt x="236411" y="204856"/>
                  <a:pt x="236411" y="207378"/>
                  <a:pt x="235322" y="209539"/>
                </a:cubicBezTo>
                <a:cubicBezTo>
                  <a:pt x="232417" y="212782"/>
                  <a:pt x="231328" y="216385"/>
                  <a:pt x="231328" y="220348"/>
                </a:cubicBezTo>
                <a:lnTo>
                  <a:pt x="231328" y="243406"/>
                </a:lnTo>
                <a:lnTo>
                  <a:pt x="281436" y="243406"/>
                </a:lnTo>
                <a:lnTo>
                  <a:pt x="281436" y="220348"/>
                </a:lnTo>
                <a:cubicBezTo>
                  <a:pt x="281436" y="216385"/>
                  <a:pt x="279983" y="212782"/>
                  <a:pt x="277079" y="209539"/>
                </a:cubicBezTo>
                <a:cubicBezTo>
                  <a:pt x="275989" y="207378"/>
                  <a:pt x="276352" y="204856"/>
                  <a:pt x="278168" y="203415"/>
                </a:cubicBezTo>
                <a:cubicBezTo>
                  <a:pt x="279983" y="201613"/>
                  <a:pt x="282525" y="201974"/>
                  <a:pt x="284704" y="203775"/>
                </a:cubicBezTo>
                <a:cubicBezTo>
                  <a:pt x="288335" y="208459"/>
                  <a:pt x="290150" y="214223"/>
                  <a:pt x="290150" y="220348"/>
                </a:cubicBezTo>
                <a:lnTo>
                  <a:pt x="290150" y="247730"/>
                </a:lnTo>
                <a:cubicBezTo>
                  <a:pt x="290150" y="250252"/>
                  <a:pt x="288335" y="252053"/>
                  <a:pt x="285793" y="252053"/>
                </a:cubicBezTo>
                <a:lnTo>
                  <a:pt x="226607" y="252053"/>
                </a:lnTo>
                <a:cubicBezTo>
                  <a:pt x="224066" y="252053"/>
                  <a:pt x="222250" y="250252"/>
                  <a:pt x="222250" y="247730"/>
                </a:cubicBezTo>
                <a:lnTo>
                  <a:pt x="222250" y="220348"/>
                </a:lnTo>
                <a:cubicBezTo>
                  <a:pt x="222250" y="214223"/>
                  <a:pt x="224066" y="208459"/>
                  <a:pt x="228423" y="203775"/>
                </a:cubicBezTo>
                <a:cubicBezTo>
                  <a:pt x="229875" y="201974"/>
                  <a:pt x="232417" y="201613"/>
                  <a:pt x="234596" y="203415"/>
                </a:cubicBezTo>
                <a:close/>
                <a:moveTo>
                  <a:pt x="12345" y="203415"/>
                </a:moveTo>
                <a:cubicBezTo>
                  <a:pt x="13798" y="204856"/>
                  <a:pt x="14161" y="207378"/>
                  <a:pt x="12708" y="209539"/>
                </a:cubicBezTo>
                <a:cubicBezTo>
                  <a:pt x="10167" y="212782"/>
                  <a:pt x="9077" y="216385"/>
                  <a:pt x="9077" y="220348"/>
                </a:cubicBezTo>
                <a:lnTo>
                  <a:pt x="9077" y="243406"/>
                </a:lnTo>
                <a:lnTo>
                  <a:pt x="59185" y="243406"/>
                </a:lnTo>
                <a:lnTo>
                  <a:pt x="59185" y="220348"/>
                </a:lnTo>
                <a:cubicBezTo>
                  <a:pt x="59185" y="216385"/>
                  <a:pt x="57733" y="212782"/>
                  <a:pt x="54828" y="209539"/>
                </a:cubicBezTo>
                <a:cubicBezTo>
                  <a:pt x="53739" y="207378"/>
                  <a:pt x="53739" y="204856"/>
                  <a:pt x="55917" y="203415"/>
                </a:cubicBezTo>
                <a:cubicBezTo>
                  <a:pt x="57733" y="201613"/>
                  <a:pt x="60275" y="201974"/>
                  <a:pt x="62090" y="203775"/>
                </a:cubicBezTo>
                <a:cubicBezTo>
                  <a:pt x="66084" y="208459"/>
                  <a:pt x="67900" y="214223"/>
                  <a:pt x="67900" y="220348"/>
                </a:cubicBezTo>
                <a:lnTo>
                  <a:pt x="67900" y="247730"/>
                </a:lnTo>
                <a:cubicBezTo>
                  <a:pt x="67900" y="250252"/>
                  <a:pt x="66084" y="252053"/>
                  <a:pt x="63542" y="252053"/>
                </a:cubicBezTo>
                <a:lnTo>
                  <a:pt x="4357" y="252053"/>
                </a:lnTo>
                <a:cubicBezTo>
                  <a:pt x="1815" y="252053"/>
                  <a:pt x="0" y="250252"/>
                  <a:pt x="0" y="247730"/>
                </a:cubicBezTo>
                <a:lnTo>
                  <a:pt x="0" y="220348"/>
                </a:lnTo>
                <a:cubicBezTo>
                  <a:pt x="0" y="214223"/>
                  <a:pt x="2178" y="208459"/>
                  <a:pt x="6172" y="203775"/>
                </a:cubicBezTo>
                <a:cubicBezTo>
                  <a:pt x="7625" y="201974"/>
                  <a:pt x="10167" y="201613"/>
                  <a:pt x="12345" y="203415"/>
                </a:cubicBezTo>
                <a:close/>
                <a:moveTo>
                  <a:pt x="255410" y="175674"/>
                </a:moveTo>
                <a:cubicBezTo>
                  <a:pt x="249713" y="175674"/>
                  <a:pt x="245084" y="179987"/>
                  <a:pt x="245084" y="185738"/>
                </a:cubicBezTo>
                <a:cubicBezTo>
                  <a:pt x="245084" y="191130"/>
                  <a:pt x="249713" y="195802"/>
                  <a:pt x="255410" y="195802"/>
                </a:cubicBezTo>
                <a:cubicBezTo>
                  <a:pt x="260751" y="195802"/>
                  <a:pt x="265380" y="191130"/>
                  <a:pt x="265380" y="185738"/>
                </a:cubicBezTo>
                <a:cubicBezTo>
                  <a:pt x="265380" y="179987"/>
                  <a:pt x="260751" y="175674"/>
                  <a:pt x="255410" y="175674"/>
                </a:cubicBezTo>
                <a:close/>
                <a:moveTo>
                  <a:pt x="33338" y="175674"/>
                </a:moveTo>
                <a:cubicBezTo>
                  <a:pt x="27693" y="175674"/>
                  <a:pt x="23107" y="179987"/>
                  <a:pt x="23107" y="185738"/>
                </a:cubicBezTo>
                <a:cubicBezTo>
                  <a:pt x="23107" y="191130"/>
                  <a:pt x="27693" y="195802"/>
                  <a:pt x="33338" y="195802"/>
                </a:cubicBezTo>
                <a:cubicBezTo>
                  <a:pt x="38629" y="195802"/>
                  <a:pt x="43216" y="191130"/>
                  <a:pt x="43216" y="185738"/>
                </a:cubicBezTo>
                <a:cubicBezTo>
                  <a:pt x="43216" y="179987"/>
                  <a:pt x="38629" y="175674"/>
                  <a:pt x="33338" y="175674"/>
                </a:cubicBezTo>
                <a:close/>
                <a:moveTo>
                  <a:pt x="255410" y="166688"/>
                </a:moveTo>
                <a:cubicBezTo>
                  <a:pt x="265736" y="166688"/>
                  <a:pt x="274282" y="175315"/>
                  <a:pt x="274282" y="185738"/>
                </a:cubicBezTo>
                <a:cubicBezTo>
                  <a:pt x="274282" y="196521"/>
                  <a:pt x="265736" y="204429"/>
                  <a:pt x="255410" y="204429"/>
                </a:cubicBezTo>
                <a:cubicBezTo>
                  <a:pt x="244728" y="204429"/>
                  <a:pt x="236538" y="196521"/>
                  <a:pt x="236538" y="185738"/>
                </a:cubicBezTo>
                <a:cubicBezTo>
                  <a:pt x="236538" y="175315"/>
                  <a:pt x="244728" y="166688"/>
                  <a:pt x="255410" y="166688"/>
                </a:cubicBezTo>
                <a:close/>
                <a:moveTo>
                  <a:pt x="33338" y="166688"/>
                </a:moveTo>
                <a:cubicBezTo>
                  <a:pt x="43568" y="166688"/>
                  <a:pt x="52035" y="175315"/>
                  <a:pt x="52035" y="185738"/>
                </a:cubicBezTo>
                <a:cubicBezTo>
                  <a:pt x="52035" y="196521"/>
                  <a:pt x="43568" y="204429"/>
                  <a:pt x="33338" y="204429"/>
                </a:cubicBezTo>
                <a:cubicBezTo>
                  <a:pt x="22754" y="204429"/>
                  <a:pt x="14288" y="196521"/>
                  <a:pt x="14288" y="185738"/>
                </a:cubicBezTo>
                <a:cubicBezTo>
                  <a:pt x="14288" y="175315"/>
                  <a:pt x="22754" y="166688"/>
                  <a:pt x="33338" y="166688"/>
                </a:cubicBezTo>
                <a:close/>
                <a:moveTo>
                  <a:pt x="143891" y="139700"/>
                </a:moveTo>
                <a:cubicBezTo>
                  <a:pt x="146939" y="139700"/>
                  <a:pt x="148844" y="141862"/>
                  <a:pt x="148844" y="144384"/>
                </a:cubicBezTo>
                <a:lnTo>
                  <a:pt x="148844" y="185456"/>
                </a:lnTo>
                <a:cubicBezTo>
                  <a:pt x="148844" y="187978"/>
                  <a:pt x="146939" y="190140"/>
                  <a:pt x="143891" y="190140"/>
                </a:cubicBezTo>
                <a:cubicBezTo>
                  <a:pt x="141605" y="190140"/>
                  <a:pt x="139700" y="187978"/>
                  <a:pt x="139700" y="185456"/>
                </a:cubicBezTo>
                <a:lnTo>
                  <a:pt x="139700" y="144384"/>
                </a:lnTo>
                <a:cubicBezTo>
                  <a:pt x="139700" y="141862"/>
                  <a:pt x="141605" y="139700"/>
                  <a:pt x="143891" y="139700"/>
                </a:cubicBezTo>
                <a:close/>
                <a:moveTo>
                  <a:pt x="185282" y="127000"/>
                </a:moveTo>
                <a:cubicBezTo>
                  <a:pt x="188154" y="127000"/>
                  <a:pt x="189589" y="128804"/>
                  <a:pt x="189589" y="131691"/>
                </a:cubicBezTo>
                <a:lnTo>
                  <a:pt x="189589" y="181120"/>
                </a:lnTo>
                <a:lnTo>
                  <a:pt x="217225" y="181120"/>
                </a:lnTo>
                <a:cubicBezTo>
                  <a:pt x="219738" y="181120"/>
                  <a:pt x="221891" y="182924"/>
                  <a:pt x="221891" y="185449"/>
                </a:cubicBezTo>
                <a:cubicBezTo>
                  <a:pt x="221891" y="187975"/>
                  <a:pt x="219738" y="190139"/>
                  <a:pt x="217225" y="190139"/>
                </a:cubicBezTo>
                <a:lnTo>
                  <a:pt x="185282" y="190139"/>
                </a:lnTo>
                <a:cubicBezTo>
                  <a:pt x="182770" y="190139"/>
                  <a:pt x="180975" y="187975"/>
                  <a:pt x="180975" y="185449"/>
                </a:cubicBezTo>
                <a:lnTo>
                  <a:pt x="180975" y="131691"/>
                </a:lnTo>
                <a:cubicBezTo>
                  <a:pt x="180975" y="128804"/>
                  <a:pt x="182770" y="127000"/>
                  <a:pt x="185282" y="127000"/>
                </a:cubicBezTo>
                <a:close/>
                <a:moveTo>
                  <a:pt x="103284" y="127000"/>
                </a:moveTo>
                <a:cubicBezTo>
                  <a:pt x="105796" y="127000"/>
                  <a:pt x="107591" y="128804"/>
                  <a:pt x="107591" y="131691"/>
                </a:cubicBezTo>
                <a:lnTo>
                  <a:pt x="107591" y="185449"/>
                </a:lnTo>
                <a:cubicBezTo>
                  <a:pt x="107591" y="187975"/>
                  <a:pt x="105796" y="190139"/>
                  <a:pt x="103284" y="190139"/>
                </a:cubicBezTo>
                <a:lnTo>
                  <a:pt x="70982" y="190139"/>
                </a:lnTo>
                <a:cubicBezTo>
                  <a:pt x="68828" y="190139"/>
                  <a:pt x="66675" y="187975"/>
                  <a:pt x="66675" y="185449"/>
                </a:cubicBezTo>
                <a:cubicBezTo>
                  <a:pt x="66675" y="182924"/>
                  <a:pt x="68828" y="181120"/>
                  <a:pt x="70982" y="181120"/>
                </a:cubicBezTo>
                <a:lnTo>
                  <a:pt x="98977" y="181120"/>
                </a:lnTo>
                <a:lnTo>
                  <a:pt x="98977" y="131691"/>
                </a:lnTo>
                <a:cubicBezTo>
                  <a:pt x="98977" y="128804"/>
                  <a:pt x="101130" y="127000"/>
                  <a:pt x="103284" y="127000"/>
                </a:cubicBezTo>
                <a:close/>
                <a:moveTo>
                  <a:pt x="145437" y="31750"/>
                </a:moveTo>
                <a:cubicBezTo>
                  <a:pt x="147610" y="31750"/>
                  <a:pt x="149420" y="33550"/>
                  <a:pt x="149420" y="36429"/>
                </a:cubicBezTo>
                <a:lnTo>
                  <a:pt x="149420" y="58027"/>
                </a:lnTo>
                <a:lnTo>
                  <a:pt x="171506" y="58027"/>
                </a:lnTo>
                <a:cubicBezTo>
                  <a:pt x="174040" y="58027"/>
                  <a:pt x="175851" y="60546"/>
                  <a:pt x="175851" y="62346"/>
                </a:cubicBezTo>
                <a:cubicBezTo>
                  <a:pt x="175851" y="65226"/>
                  <a:pt x="174040" y="67026"/>
                  <a:pt x="171506" y="67026"/>
                </a:cubicBezTo>
                <a:lnTo>
                  <a:pt x="149420" y="67026"/>
                </a:lnTo>
                <a:lnTo>
                  <a:pt x="149420" y="88983"/>
                </a:lnTo>
                <a:cubicBezTo>
                  <a:pt x="149420" y="91503"/>
                  <a:pt x="147610" y="93303"/>
                  <a:pt x="145437" y="93303"/>
                </a:cubicBezTo>
                <a:cubicBezTo>
                  <a:pt x="142541" y="93303"/>
                  <a:pt x="140730" y="91503"/>
                  <a:pt x="140730" y="88983"/>
                </a:cubicBezTo>
                <a:lnTo>
                  <a:pt x="140730" y="67026"/>
                </a:lnTo>
                <a:lnTo>
                  <a:pt x="118645" y="67026"/>
                </a:lnTo>
                <a:cubicBezTo>
                  <a:pt x="116110" y="67026"/>
                  <a:pt x="114300" y="65226"/>
                  <a:pt x="114300" y="62346"/>
                </a:cubicBezTo>
                <a:cubicBezTo>
                  <a:pt x="114300" y="60546"/>
                  <a:pt x="116110" y="58027"/>
                  <a:pt x="118645" y="58027"/>
                </a:cubicBezTo>
                <a:lnTo>
                  <a:pt x="140730" y="58027"/>
                </a:lnTo>
                <a:lnTo>
                  <a:pt x="140730" y="36429"/>
                </a:lnTo>
                <a:cubicBezTo>
                  <a:pt x="140730" y="33550"/>
                  <a:pt x="142541" y="31750"/>
                  <a:pt x="145437" y="31750"/>
                </a:cubicBezTo>
                <a:close/>
                <a:moveTo>
                  <a:pt x="144644" y="8684"/>
                </a:moveTo>
                <a:cubicBezTo>
                  <a:pt x="114251" y="8684"/>
                  <a:pt x="89647" y="33288"/>
                  <a:pt x="89647" y="62957"/>
                </a:cubicBezTo>
                <a:cubicBezTo>
                  <a:pt x="89647" y="93350"/>
                  <a:pt x="114251" y="117954"/>
                  <a:pt x="144644" y="117954"/>
                </a:cubicBezTo>
                <a:cubicBezTo>
                  <a:pt x="174313" y="117954"/>
                  <a:pt x="198556" y="93350"/>
                  <a:pt x="198556" y="62957"/>
                </a:cubicBezTo>
                <a:cubicBezTo>
                  <a:pt x="198556" y="33288"/>
                  <a:pt x="174313" y="8684"/>
                  <a:pt x="144644" y="8684"/>
                </a:cubicBezTo>
                <a:close/>
                <a:moveTo>
                  <a:pt x="144644" y="0"/>
                </a:moveTo>
                <a:cubicBezTo>
                  <a:pt x="179379" y="0"/>
                  <a:pt x="207601" y="28222"/>
                  <a:pt x="207601" y="62957"/>
                </a:cubicBezTo>
                <a:cubicBezTo>
                  <a:pt x="207601" y="98416"/>
                  <a:pt x="179379" y="126638"/>
                  <a:pt x="144644" y="126638"/>
                </a:cubicBezTo>
                <a:cubicBezTo>
                  <a:pt x="109185" y="126638"/>
                  <a:pt x="80963" y="98416"/>
                  <a:pt x="80963" y="62957"/>
                </a:cubicBezTo>
                <a:cubicBezTo>
                  <a:pt x="80963" y="28222"/>
                  <a:pt x="109185" y="0"/>
                  <a:pt x="144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29" name="Freeform 1061">
            <a:extLst>
              <a:ext uri="{FF2B5EF4-FFF2-40B4-BE49-F238E27FC236}">
                <a16:creationId xmlns:a16="http://schemas.microsoft.com/office/drawing/2014/main" id="{F9450158-56F9-9C48-888A-D3260D604AE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5593" y="841755"/>
            <a:ext cx="530225" cy="527050"/>
          </a:xfrm>
          <a:custGeom>
            <a:avLst/>
            <a:gdLst>
              <a:gd name="T0" fmla="*/ 6381463 w 291074"/>
              <a:gd name="T1" fmla="*/ 118260728 h 290436"/>
              <a:gd name="T2" fmla="*/ 117329382 w 291074"/>
              <a:gd name="T3" fmla="*/ 103178766 h 290436"/>
              <a:gd name="T4" fmla="*/ 127248536 w 291074"/>
              <a:gd name="T5" fmla="*/ 112881339 h 290436"/>
              <a:gd name="T6" fmla="*/ 99326893 w 291074"/>
              <a:gd name="T7" fmla="*/ 104121746 h 290436"/>
              <a:gd name="T8" fmla="*/ 111246539 w 291074"/>
              <a:gd name="T9" fmla="*/ 100893816 h 290436"/>
              <a:gd name="T10" fmla="*/ 20587701 w 291074"/>
              <a:gd name="T11" fmla="*/ 99970716 h 290436"/>
              <a:gd name="T12" fmla="*/ 25976383 w 291074"/>
              <a:gd name="T13" fmla="*/ 104888675 h 290436"/>
              <a:gd name="T14" fmla="*/ 112063241 w 291074"/>
              <a:gd name="T15" fmla="*/ 74148473 h 290436"/>
              <a:gd name="T16" fmla="*/ 114185614 w 291074"/>
              <a:gd name="T17" fmla="*/ 98279943 h 290436"/>
              <a:gd name="T18" fmla="*/ 127575500 w 291074"/>
              <a:gd name="T19" fmla="*/ 120873984 h 290436"/>
              <a:gd name="T20" fmla="*/ 103735349 w 291074"/>
              <a:gd name="T21" fmla="*/ 108269985 h 290436"/>
              <a:gd name="T22" fmla="*/ 82018180 w 291074"/>
              <a:gd name="T23" fmla="*/ 109960490 h 290436"/>
              <a:gd name="T24" fmla="*/ 84794463 w 291074"/>
              <a:gd name="T25" fmla="*/ 107195892 h 290436"/>
              <a:gd name="T26" fmla="*/ 114185614 w 291074"/>
              <a:gd name="T27" fmla="*/ 87367490 h 290436"/>
              <a:gd name="T28" fmla="*/ 19118593 w 291074"/>
              <a:gd name="T29" fmla="*/ 74148473 h 290436"/>
              <a:gd name="T30" fmla="*/ 16832540 w 291074"/>
              <a:gd name="T31" fmla="*/ 87367490 h 290436"/>
              <a:gd name="T32" fmla="*/ 46550735 w 291074"/>
              <a:gd name="T33" fmla="*/ 107195892 h 290436"/>
              <a:gd name="T34" fmla="*/ 49326661 w 291074"/>
              <a:gd name="T35" fmla="*/ 109960490 h 290436"/>
              <a:gd name="T36" fmla="*/ 27609146 w 291074"/>
              <a:gd name="T37" fmla="*/ 108269985 h 290436"/>
              <a:gd name="T38" fmla="*/ 3605544 w 291074"/>
              <a:gd name="T39" fmla="*/ 120873984 h 290436"/>
              <a:gd name="T40" fmla="*/ 16342408 w 291074"/>
              <a:gd name="T41" fmla="*/ 99663363 h 290436"/>
              <a:gd name="T42" fmla="*/ 15362259 w 291074"/>
              <a:gd name="T43" fmla="*/ 77684115 h 290436"/>
              <a:gd name="T44" fmla="*/ 103517169 w 291074"/>
              <a:gd name="T45" fmla="*/ 64213815 h 290436"/>
              <a:gd name="T46" fmla="*/ 90254916 w 291074"/>
              <a:gd name="T47" fmla="*/ 89822304 h 290436"/>
              <a:gd name="T48" fmla="*/ 40765357 w 291074"/>
              <a:gd name="T49" fmla="*/ 89822304 h 290436"/>
              <a:gd name="T50" fmla="*/ 27503865 w 291074"/>
              <a:gd name="T51" fmla="*/ 64213815 h 290436"/>
              <a:gd name="T52" fmla="*/ 93167027 w 291074"/>
              <a:gd name="T53" fmla="*/ 37532648 h 290436"/>
              <a:gd name="T54" fmla="*/ 37854342 w 291074"/>
              <a:gd name="T55" fmla="*/ 37532648 h 290436"/>
              <a:gd name="T56" fmla="*/ 67451366 w 291074"/>
              <a:gd name="T57" fmla="*/ 26338658 h 290436"/>
              <a:gd name="T58" fmla="*/ 67451366 w 291074"/>
              <a:gd name="T59" fmla="*/ 26338658 h 290436"/>
              <a:gd name="T60" fmla="*/ 63569847 w 291074"/>
              <a:gd name="T61" fmla="*/ 60534775 h 290436"/>
              <a:gd name="T62" fmla="*/ 65510590 w 291074"/>
              <a:gd name="T63" fmla="*/ 102396416 h 290436"/>
              <a:gd name="T64" fmla="*/ 105347701 w 291074"/>
              <a:gd name="T65" fmla="*/ 19545095 h 290436"/>
              <a:gd name="T66" fmla="*/ 111024396 w 291074"/>
              <a:gd name="T67" fmla="*/ 23400513 h 290436"/>
              <a:gd name="T68" fmla="*/ 22546907 w 291074"/>
              <a:gd name="T69" fmla="*/ 21445794 h 290436"/>
              <a:gd name="T70" fmla="*/ 31854966 w 291074"/>
              <a:gd name="T71" fmla="*/ 20209379 h 290436"/>
              <a:gd name="T72" fmla="*/ 111835813 w 291074"/>
              <a:gd name="T73" fmla="*/ 7210767 h 290436"/>
              <a:gd name="T74" fmla="*/ 124489747 w 291074"/>
              <a:gd name="T75" fmla="*/ 6133343 h 290436"/>
              <a:gd name="T76" fmla="*/ 6381463 w 291074"/>
              <a:gd name="T77" fmla="*/ 5976613 h 290436"/>
              <a:gd name="T78" fmla="*/ 18954381 w 291074"/>
              <a:gd name="T79" fmla="*/ 7057561 h 290436"/>
              <a:gd name="T80" fmla="*/ 126274243 w 291074"/>
              <a:gd name="T81" fmla="*/ 20779408 h 290436"/>
              <a:gd name="T82" fmla="*/ 114106565 w 291074"/>
              <a:gd name="T83" fmla="*/ 30799944 h 290436"/>
              <a:gd name="T84" fmla="*/ 110375232 w 291074"/>
              <a:gd name="T85" fmla="*/ 50841781 h 290436"/>
              <a:gd name="T86" fmla="*/ 113944458 w 291074"/>
              <a:gd name="T87" fmla="*/ 37274747 h 290436"/>
              <a:gd name="T88" fmla="*/ 84744057 w 291074"/>
              <a:gd name="T89" fmla="*/ 17233676 h 290436"/>
              <a:gd name="T90" fmla="*/ 77930966 w 291074"/>
              <a:gd name="T91" fmla="*/ 18157288 h 290436"/>
              <a:gd name="T92" fmla="*/ 103562180 w 291074"/>
              <a:gd name="T93" fmla="*/ 16153871 h 290436"/>
              <a:gd name="T94" fmla="*/ 118649116 w 291074"/>
              <a:gd name="T95" fmla="*/ 120409 h 290436"/>
              <a:gd name="T96" fmla="*/ 27445716 w 291074"/>
              <a:gd name="T97" fmla="*/ 16031862 h 290436"/>
              <a:gd name="T98" fmla="*/ 53082351 w 291074"/>
              <a:gd name="T99" fmla="*/ 18042582 h 290436"/>
              <a:gd name="T100" fmla="*/ 46550735 w 291074"/>
              <a:gd name="T101" fmla="*/ 17114714 h 290436"/>
              <a:gd name="T102" fmla="*/ 16832540 w 291074"/>
              <a:gd name="T103" fmla="*/ 37226834 h 290436"/>
              <a:gd name="T104" fmla="*/ 20587701 w 291074"/>
              <a:gd name="T105" fmla="*/ 50841697 h 290436"/>
              <a:gd name="T106" fmla="*/ 16832540 w 291074"/>
              <a:gd name="T107" fmla="*/ 30728957 h 290436"/>
              <a:gd name="T108" fmla="*/ 4585657 w 291074"/>
              <a:gd name="T109" fmla="*/ 20673549 h 2904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91074" h="290436">
                <a:moveTo>
                  <a:pt x="31551" y="241515"/>
                </a:moveTo>
                <a:cubicBezTo>
                  <a:pt x="26841" y="241515"/>
                  <a:pt x="21406" y="243674"/>
                  <a:pt x="16334" y="248710"/>
                </a:cubicBezTo>
                <a:cubicBezTo>
                  <a:pt x="11986" y="253386"/>
                  <a:pt x="9088" y="258781"/>
                  <a:pt x="8726" y="264177"/>
                </a:cubicBezTo>
                <a:cubicBezTo>
                  <a:pt x="8726" y="268493"/>
                  <a:pt x="10899" y="273170"/>
                  <a:pt x="14160" y="276767"/>
                </a:cubicBezTo>
                <a:cubicBezTo>
                  <a:pt x="21769" y="284321"/>
                  <a:pt x="33000" y="283601"/>
                  <a:pt x="42058" y="274249"/>
                </a:cubicBezTo>
                <a:cubicBezTo>
                  <a:pt x="51478" y="264896"/>
                  <a:pt x="52204" y="255184"/>
                  <a:pt x="43870" y="246911"/>
                </a:cubicBezTo>
                <a:cubicBezTo>
                  <a:pt x="40247" y="243314"/>
                  <a:pt x="36261" y="241515"/>
                  <a:pt x="31551" y="241515"/>
                </a:cubicBezTo>
                <a:close/>
                <a:moveTo>
                  <a:pt x="260338" y="241470"/>
                </a:moveTo>
                <a:cubicBezTo>
                  <a:pt x="255718" y="241156"/>
                  <a:pt x="251189" y="242954"/>
                  <a:pt x="247204" y="246911"/>
                </a:cubicBezTo>
                <a:cubicBezTo>
                  <a:pt x="238871" y="255184"/>
                  <a:pt x="239595" y="264896"/>
                  <a:pt x="248653" y="274249"/>
                </a:cubicBezTo>
                <a:cubicBezTo>
                  <a:pt x="258073" y="283601"/>
                  <a:pt x="269305" y="284321"/>
                  <a:pt x="276913" y="276767"/>
                </a:cubicBezTo>
                <a:cubicBezTo>
                  <a:pt x="280899" y="273170"/>
                  <a:pt x="282348" y="268493"/>
                  <a:pt x="282348" y="264177"/>
                </a:cubicBezTo>
                <a:cubicBezTo>
                  <a:pt x="281986" y="258781"/>
                  <a:pt x="279450" y="253386"/>
                  <a:pt x="274015" y="248710"/>
                </a:cubicBezTo>
                <a:cubicBezTo>
                  <a:pt x="269667" y="244213"/>
                  <a:pt x="264957" y="241785"/>
                  <a:pt x="260338" y="241470"/>
                </a:cubicBezTo>
                <a:close/>
                <a:moveTo>
                  <a:pt x="243943" y="220652"/>
                </a:moveTo>
                <a:cubicBezTo>
                  <a:pt x="232349" y="223530"/>
                  <a:pt x="223291" y="231803"/>
                  <a:pt x="220393" y="243674"/>
                </a:cubicBezTo>
                <a:cubicBezTo>
                  <a:pt x="225103" y="242595"/>
                  <a:pt x="229451" y="242954"/>
                  <a:pt x="234523" y="245472"/>
                </a:cubicBezTo>
                <a:lnTo>
                  <a:pt x="236334" y="246551"/>
                </a:lnTo>
                <a:cubicBezTo>
                  <a:pt x="237784" y="244753"/>
                  <a:pt x="238871" y="242595"/>
                  <a:pt x="241045" y="240796"/>
                </a:cubicBezTo>
                <a:cubicBezTo>
                  <a:pt x="242494" y="238997"/>
                  <a:pt x="244668" y="237199"/>
                  <a:pt x="246842" y="236120"/>
                </a:cubicBezTo>
                <a:lnTo>
                  <a:pt x="245392" y="233602"/>
                </a:lnTo>
                <a:cubicBezTo>
                  <a:pt x="243581" y="229645"/>
                  <a:pt x="242494" y="224609"/>
                  <a:pt x="243943" y="220652"/>
                </a:cubicBezTo>
                <a:close/>
                <a:moveTo>
                  <a:pt x="47131" y="220652"/>
                </a:moveTo>
                <a:cubicBezTo>
                  <a:pt x="48580" y="224609"/>
                  <a:pt x="47493" y="229645"/>
                  <a:pt x="45681" y="233962"/>
                </a:cubicBezTo>
                <a:lnTo>
                  <a:pt x="44232" y="236120"/>
                </a:lnTo>
                <a:cubicBezTo>
                  <a:pt x="46406" y="237199"/>
                  <a:pt x="48580" y="238997"/>
                  <a:pt x="50029" y="240796"/>
                </a:cubicBezTo>
                <a:cubicBezTo>
                  <a:pt x="52204" y="242595"/>
                  <a:pt x="53290" y="244753"/>
                  <a:pt x="54740" y="246551"/>
                </a:cubicBezTo>
                <a:lnTo>
                  <a:pt x="57638" y="245472"/>
                </a:lnTo>
                <a:cubicBezTo>
                  <a:pt x="61624" y="242954"/>
                  <a:pt x="65971" y="242595"/>
                  <a:pt x="70681" y="243674"/>
                </a:cubicBezTo>
                <a:cubicBezTo>
                  <a:pt x="67783" y="231803"/>
                  <a:pt x="59087" y="223530"/>
                  <a:pt x="47131" y="220652"/>
                </a:cubicBezTo>
                <a:close/>
                <a:moveTo>
                  <a:pt x="242494" y="173531"/>
                </a:moveTo>
                <a:cubicBezTo>
                  <a:pt x="244305" y="171732"/>
                  <a:pt x="247204" y="171732"/>
                  <a:pt x="248653" y="173531"/>
                </a:cubicBezTo>
                <a:lnTo>
                  <a:pt x="257349" y="181804"/>
                </a:lnTo>
                <a:cubicBezTo>
                  <a:pt x="265319" y="189718"/>
                  <a:pt x="266406" y="201588"/>
                  <a:pt x="260609" y="209501"/>
                </a:cubicBezTo>
                <a:lnTo>
                  <a:pt x="253725" y="219214"/>
                </a:lnTo>
                <a:cubicBezTo>
                  <a:pt x="251552" y="222091"/>
                  <a:pt x="251552" y="226408"/>
                  <a:pt x="253363" y="230005"/>
                </a:cubicBezTo>
                <a:lnTo>
                  <a:pt x="254812" y="233242"/>
                </a:lnTo>
                <a:cubicBezTo>
                  <a:pt x="263508" y="231444"/>
                  <a:pt x="272928" y="234321"/>
                  <a:pt x="280899" y="242595"/>
                </a:cubicBezTo>
                <a:cubicBezTo>
                  <a:pt x="287420" y="249069"/>
                  <a:pt x="290681" y="256263"/>
                  <a:pt x="291044" y="263817"/>
                </a:cubicBezTo>
                <a:cubicBezTo>
                  <a:pt x="291406" y="270652"/>
                  <a:pt x="288507" y="277486"/>
                  <a:pt x="283073" y="282882"/>
                </a:cubicBezTo>
                <a:cubicBezTo>
                  <a:pt x="278363" y="287918"/>
                  <a:pt x="272203" y="290436"/>
                  <a:pt x="264595" y="290436"/>
                </a:cubicBezTo>
                <a:cubicBezTo>
                  <a:pt x="257711" y="290436"/>
                  <a:pt x="250102" y="287918"/>
                  <a:pt x="242494" y="280364"/>
                </a:cubicBezTo>
                <a:cubicBezTo>
                  <a:pt x="234885" y="272450"/>
                  <a:pt x="231624" y="263458"/>
                  <a:pt x="232711" y="254825"/>
                </a:cubicBezTo>
                <a:lnTo>
                  <a:pt x="230175" y="253386"/>
                </a:lnTo>
                <a:cubicBezTo>
                  <a:pt x="226190" y="251587"/>
                  <a:pt x="222204" y="251587"/>
                  <a:pt x="219306" y="253386"/>
                </a:cubicBezTo>
                <a:lnTo>
                  <a:pt x="209523" y="260580"/>
                </a:lnTo>
                <a:cubicBezTo>
                  <a:pt x="206263" y="262738"/>
                  <a:pt x="201915" y="263817"/>
                  <a:pt x="198292" y="263817"/>
                </a:cubicBezTo>
                <a:cubicBezTo>
                  <a:pt x="192132" y="263817"/>
                  <a:pt x="186335" y="261659"/>
                  <a:pt x="181988" y="257342"/>
                </a:cubicBezTo>
                <a:lnTo>
                  <a:pt x="172930" y="248710"/>
                </a:lnTo>
                <a:cubicBezTo>
                  <a:pt x="171118" y="246911"/>
                  <a:pt x="171118" y="244033"/>
                  <a:pt x="172930" y="242595"/>
                </a:cubicBezTo>
                <a:cubicBezTo>
                  <a:pt x="174741" y="240796"/>
                  <a:pt x="178002" y="240796"/>
                  <a:pt x="179451" y="242595"/>
                </a:cubicBezTo>
                <a:lnTo>
                  <a:pt x="188147" y="250868"/>
                </a:lnTo>
                <a:cubicBezTo>
                  <a:pt x="192495" y="255544"/>
                  <a:pt x="199741" y="256263"/>
                  <a:pt x="204089" y="253386"/>
                </a:cubicBezTo>
                <a:lnTo>
                  <a:pt x="210610" y="248710"/>
                </a:lnTo>
                <a:cubicBezTo>
                  <a:pt x="211697" y="228206"/>
                  <a:pt x="228364" y="212019"/>
                  <a:pt x="248653" y="210940"/>
                </a:cubicBezTo>
                <a:lnTo>
                  <a:pt x="253363" y="204466"/>
                </a:lnTo>
                <a:cubicBezTo>
                  <a:pt x="256986" y="199789"/>
                  <a:pt x="255899" y="192955"/>
                  <a:pt x="251189" y="187919"/>
                </a:cubicBezTo>
                <a:lnTo>
                  <a:pt x="242494" y="180006"/>
                </a:lnTo>
                <a:cubicBezTo>
                  <a:pt x="240682" y="178207"/>
                  <a:pt x="240682" y="175329"/>
                  <a:pt x="242494" y="173531"/>
                </a:cubicBezTo>
                <a:close/>
                <a:moveTo>
                  <a:pt x="42421" y="173531"/>
                </a:moveTo>
                <a:cubicBezTo>
                  <a:pt x="43870" y="171732"/>
                  <a:pt x="46768" y="171732"/>
                  <a:pt x="48580" y="173531"/>
                </a:cubicBezTo>
                <a:cubicBezTo>
                  <a:pt x="50029" y="175329"/>
                  <a:pt x="50029" y="178207"/>
                  <a:pt x="48580" y="180006"/>
                </a:cubicBezTo>
                <a:lnTo>
                  <a:pt x="40247" y="187919"/>
                </a:lnTo>
                <a:cubicBezTo>
                  <a:pt x="35537" y="192955"/>
                  <a:pt x="34087" y="199789"/>
                  <a:pt x="37348" y="204466"/>
                </a:cubicBezTo>
                <a:lnTo>
                  <a:pt x="42058" y="210940"/>
                </a:lnTo>
                <a:cubicBezTo>
                  <a:pt x="62711" y="212019"/>
                  <a:pt x="79377" y="228206"/>
                  <a:pt x="80464" y="248710"/>
                </a:cubicBezTo>
                <a:lnTo>
                  <a:pt x="86986" y="253386"/>
                </a:lnTo>
                <a:cubicBezTo>
                  <a:pt x="91696" y="256263"/>
                  <a:pt x="98580" y="255544"/>
                  <a:pt x="103290" y="250868"/>
                </a:cubicBezTo>
                <a:lnTo>
                  <a:pt x="111623" y="242595"/>
                </a:lnTo>
                <a:cubicBezTo>
                  <a:pt x="113434" y="240796"/>
                  <a:pt x="115970" y="240796"/>
                  <a:pt x="117782" y="242595"/>
                </a:cubicBezTo>
                <a:cubicBezTo>
                  <a:pt x="119956" y="244033"/>
                  <a:pt x="119956" y="246911"/>
                  <a:pt x="117782" y="248710"/>
                </a:cubicBezTo>
                <a:lnTo>
                  <a:pt x="109449" y="257342"/>
                </a:lnTo>
                <a:cubicBezTo>
                  <a:pt x="104739" y="261659"/>
                  <a:pt x="98942" y="263817"/>
                  <a:pt x="93145" y="263817"/>
                </a:cubicBezTo>
                <a:cubicBezTo>
                  <a:pt x="89159" y="263817"/>
                  <a:pt x="85536" y="262738"/>
                  <a:pt x="82275" y="260580"/>
                </a:cubicBezTo>
                <a:lnTo>
                  <a:pt x="71768" y="253386"/>
                </a:lnTo>
                <a:cubicBezTo>
                  <a:pt x="68870" y="251587"/>
                  <a:pt x="64884" y="251227"/>
                  <a:pt x="61261" y="253386"/>
                </a:cubicBezTo>
                <a:lnTo>
                  <a:pt x="58001" y="254825"/>
                </a:lnTo>
                <a:cubicBezTo>
                  <a:pt x="59450" y="263458"/>
                  <a:pt x="56551" y="272450"/>
                  <a:pt x="48580" y="280364"/>
                </a:cubicBezTo>
                <a:cubicBezTo>
                  <a:pt x="40971" y="287918"/>
                  <a:pt x="33363" y="290436"/>
                  <a:pt x="26479" y="290436"/>
                </a:cubicBezTo>
                <a:cubicBezTo>
                  <a:pt x="18870" y="290436"/>
                  <a:pt x="12349" y="287918"/>
                  <a:pt x="8001" y="282882"/>
                </a:cubicBezTo>
                <a:cubicBezTo>
                  <a:pt x="2566" y="277486"/>
                  <a:pt x="-332" y="270652"/>
                  <a:pt x="30" y="263817"/>
                </a:cubicBezTo>
                <a:cubicBezTo>
                  <a:pt x="30" y="256263"/>
                  <a:pt x="3653" y="249069"/>
                  <a:pt x="10175" y="242595"/>
                </a:cubicBezTo>
                <a:cubicBezTo>
                  <a:pt x="17059" y="236120"/>
                  <a:pt x="24305" y="232882"/>
                  <a:pt x="31551" y="232882"/>
                </a:cubicBezTo>
                <a:cubicBezTo>
                  <a:pt x="33363" y="232882"/>
                  <a:pt x="34450" y="232882"/>
                  <a:pt x="36261" y="233242"/>
                </a:cubicBezTo>
                <a:lnTo>
                  <a:pt x="37348" y="230364"/>
                </a:lnTo>
                <a:cubicBezTo>
                  <a:pt x="39522" y="226408"/>
                  <a:pt x="39522" y="222091"/>
                  <a:pt x="37348" y="219214"/>
                </a:cubicBezTo>
                <a:lnTo>
                  <a:pt x="30464" y="209501"/>
                </a:lnTo>
                <a:cubicBezTo>
                  <a:pt x="24667" y="201588"/>
                  <a:pt x="25754" y="189718"/>
                  <a:pt x="34087" y="181804"/>
                </a:cubicBezTo>
                <a:lnTo>
                  <a:pt x="42421" y="173531"/>
                </a:lnTo>
                <a:close/>
                <a:moveTo>
                  <a:pt x="183399" y="150280"/>
                </a:moveTo>
                <a:cubicBezTo>
                  <a:pt x="184834" y="171094"/>
                  <a:pt x="192729" y="189755"/>
                  <a:pt x="206725" y="204109"/>
                </a:cubicBezTo>
                <a:cubicBezTo>
                  <a:pt x="220362" y="190114"/>
                  <a:pt x="228974" y="171453"/>
                  <a:pt x="229692" y="150280"/>
                </a:cubicBezTo>
                <a:lnTo>
                  <a:pt x="183399" y="150280"/>
                </a:lnTo>
                <a:close/>
                <a:moveTo>
                  <a:pt x="149666" y="150280"/>
                </a:moveTo>
                <a:lnTo>
                  <a:pt x="149666" y="230665"/>
                </a:lnTo>
                <a:cubicBezTo>
                  <a:pt x="169045" y="229588"/>
                  <a:pt x="186629" y="222052"/>
                  <a:pt x="200265" y="210210"/>
                </a:cubicBezTo>
                <a:cubicBezTo>
                  <a:pt x="184834" y="194061"/>
                  <a:pt x="175863" y="172888"/>
                  <a:pt x="174786" y="150280"/>
                </a:cubicBezTo>
                <a:lnTo>
                  <a:pt x="149666" y="150280"/>
                </a:lnTo>
                <a:close/>
                <a:moveTo>
                  <a:pt x="115574" y="150280"/>
                </a:moveTo>
                <a:cubicBezTo>
                  <a:pt x="114857" y="172888"/>
                  <a:pt x="105885" y="194061"/>
                  <a:pt x="90454" y="210210"/>
                </a:cubicBezTo>
                <a:cubicBezTo>
                  <a:pt x="104450" y="222052"/>
                  <a:pt x="121316" y="229588"/>
                  <a:pt x="141054" y="230665"/>
                </a:cubicBezTo>
                <a:lnTo>
                  <a:pt x="141054" y="150280"/>
                </a:lnTo>
                <a:lnTo>
                  <a:pt x="115574" y="150280"/>
                </a:lnTo>
                <a:close/>
                <a:moveTo>
                  <a:pt x="61028" y="150280"/>
                </a:moveTo>
                <a:cubicBezTo>
                  <a:pt x="62104" y="171453"/>
                  <a:pt x="70717" y="190114"/>
                  <a:pt x="83995" y="204109"/>
                </a:cubicBezTo>
                <a:cubicBezTo>
                  <a:pt x="97990" y="189755"/>
                  <a:pt x="105885" y="171094"/>
                  <a:pt x="107321" y="150280"/>
                </a:cubicBezTo>
                <a:lnTo>
                  <a:pt x="61028" y="150280"/>
                </a:lnTo>
                <a:close/>
                <a:moveTo>
                  <a:pt x="206725" y="87839"/>
                </a:moveTo>
                <a:cubicBezTo>
                  <a:pt x="192729" y="102911"/>
                  <a:pt x="184834" y="121571"/>
                  <a:pt x="183399" y="141668"/>
                </a:cubicBezTo>
                <a:lnTo>
                  <a:pt x="229692" y="141668"/>
                </a:lnTo>
                <a:cubicBezTo>
                  <a:pt x="228974" y="120854"/>
                  <a:pt x="220362" y="101834"/>
                  <a:pt x="206725" y="87839"/>
                </a:cubicBezTo>
                <a:close/>
                <a:moveTo>
                  <a:pt x="83995" y="87839"/>
                </a:moveTo>
                <a:cubicBezTo>
                  <a:pt x="70717" y="101834"/>
                  <a:pt x="62104" y="120854"/>
                  <a:pt x="61028" y="141668"/>
                </a:cubicBezTo>
                <a:lnTo>
                  <a:pt x="107321" y="141668"/>
                </a:lnTo>
                <a:cubicBezTo>
                  <a:pt x="105885" y="121571"/>
                  <a:pt x="97990" y="102911"/>
                  <a:pt x="83995" y="87839"/>
                </a:cubicBezTo>
                <a:close/>
                <a:moveTo>
                  <a:pt x="149666" y="61642"/>
                </a:moveTo>
                <a:lnTo>
                  <a:pt x="149666" y="141668"/>
                </a:lnTo>
                <a:lnTo>
                  <a:pt x="174786" y="141668"/>
                </a:lnTo>
                <a:cubicBezTo>
                  <a:pt x="175863" y="119059"/>
                  <a:pt x="184834" y="98245"/>
                  <a:pt x="200265" y="82097"/>
                </a:cubicBezTo>
                <a:cubicBezTo>
                  <a:pt x="186629" y="69896"/>
                  <a:pt x="169045" y="62718"/>
                  <a:pt x="149666" y="61642"/>
                </a:cubicBezTo>
                <a:close/>
                <a:moveTo>
                  <a:pt x="141054" y="61642"/>
                </a:moveTo>
                <a:cubicBezTo>
                  <a:pt x="121316" y="62718"/>
                  <a:pt x="104450" y="69896"/>
                  <a:pt x="90454" y="82097"/>
                </a:cubicBezTo>
                <a:cubicBezTo>
                  <a:pt x="105885" y="98245"/>
                  <a:pt x="114857" y="119059"/>
                  <a:pt x="115574" y="141668"/>
                </a:cubicBezTo>
                <a:lnTo>
                  <a:pt x="141054" y="141668"/>
                </a:lnTo>
                <a:lnTo>
                  <a:pt x="141054" y="61642"/>
                </a:lnTo>
                <a:close/>
                <a:moveTo>
                  <a:pt x="145360" y="52670"/>
                </a:moveTo>
                <a:cubicBezTo>
                  <a:pt x="197036" y="52670"/>
                  <a:pt x="239022" y="94657"/>
                  <a:pt x="239022" y="146333"/>
                </a:cubicBezTo>
                <a:cubicBezTo>
                  <a:pt x="239022" y="197650"/>
                  <a:pt x="197036" y="239636"/>
                  <a:pt x="145360" y="239636"/>
                </a:cubicBezTo>
                <a:cubicBezTo>
                  <a:pt x="93684" y="239636"/>
                  <a:pt x="52056" y="197650"/>
                  <a:pt x="52056" y="146333"/>
                </a:cubicBezTo>
                <a:cubicBezTo>
                  <a:pt x="52056" y="94657"/>
                  <a:pt x="93684" y="52670"/>
                  <a:pt x="145360" y="52670"/>
                </a:cubicBezTo>
                <a:close/>
                <a:moveTo>
                  <a:pt x="235910" y="44660"/>
                </a:moveTo>
                <a:lnTo>
                  <a:pt x="233751" y="45742"/>
                </a:lnTo>
                <a:cubicBezTo>
                  <a:pt x="229071" y="47907"/>
                  <a:pt x="224752" y="48268"/>
                  <a:pt x="220072" y="47546"/>
                </a:cubicBezTo>
                <a:cubicBezTo>
                  <a:pt x="222952" y="59092"/>
                  <a:pt x="231951" y="67751"/>
                  <a:pt x="243469" y="70638"/>
                </a:cubicBezTo>
                <a:cubicBezTo>
                  <a:pt x="242030" y="66308"/>
                  <a:pt x="243110" y="61257"/>
                  <a:pt x="245269" y="56927"/>
                </a:cubicBezTo>
                <a:lnTo>
                  <a:pt x="246349" y="54763"/>
                </a:lnTo>
                <a:cubicBezTo>
                  <a:pt x="244189" y="53680"/>
                  <a:pt x="242030" y="52237"/>
                  <a:pt x="240590" y="50433"/>
                </a:cubicBezTo>
                <a:cubicBezTo>
                  <a:pt x="238430" y="48629"/>
                  <a:pt x="237350" y="46825"/>
                  <a:pt x="235910" y="44660"/>
                </a:cubicBezTo>
                <a:close/>
                <a:moveTo>
                  <a:pt x="54740" y="44398"/>
                </a:moveTo>
                <a:cubicBezTo>
                  <a:pt x="53290" y="46570"/>
                  <a:pt x="52204" y="48381"/>
                  <a:pt x="50029" y="50191"/>
                </a:cubicBezTo>
                <a:cubicBezTo>
                  <a:pt x="48580" y="52001"/>
                  <a:pt x="46406" y="53450"/>
                  <a:pt x="44232" y="54536"/>
                </a:cubicBezTo>
                <a:lnTo>
                  <a:pt x="45681" y="57071"/>
                </a:lnTo>
                <a:cubicBezTo>
                  <a:pt x="47493" y="61053"/>
                  <a:pt x="48580" y="66122"/>
                  <a:pt x="47131" y="70467"/>
                </a:cubicBezTo>
                <a:cubicBezTo>
                  <a:pt x="59087" y="67570"/>
                  <a:pt x="67783" y="58881"/>
                  <a:pt x="70681" y="47295"/>
                </a:cubicBezTo>
                <a:cubicBezTo>
                  <a:pt x="65971" y="48019"/>
                  <a:pt x="61624" y="47657"/>
                  <a:pt x="56914" y="45122"/>
                </a:cubicBezTo>
                <a:lnTo>
                  <a:pt x="54740" y="44398"/>
                </a:lnTo>
                <a:close/>
                <a:moveTo>
                  <a:pt x="263627" y="9302"/>
                </a:moveTo>
                <a:cubicBezTo>
                  <a:pt x="258948" y="9662"/>
                  <a:pt x="253188" y="11827"/>
                  <a:pt x="248149" y="16878"/>
                </a:cubicBezTo>
                <a:cubicBezTo>
                  <a:pt x="243829" y="21930"/>
                  <a:pt x="240950" y="26620"/>
                  <a:pt x="240950" y="32032"/>
                </a:cubicBezTo>
                <a:cubicBezTo>
                  <a:pt x="240950" y="36001"/>
                  <a:pt x="243110" y="40691"/>
                  <a:pt x="246709" y="44299"/>
                </a:cubicBezTo>
                <a:cubicBezTo>
                  <a:pt x="254628" y="52237"/>
                  <a:pt x="264707" y="51515"/>
                  <a:pt x="273346" y="42495"/>
                </a:cubicBezTo>
                <a:cubicBezTo>
                  <a:pt x="283425" y="33114"/>
                  <a:pt x="284145" y="22290"/>
                  <a:pt x="276226" y="14353"/>
                </a:cubicBezTo>
                <a:cubicBezTo>
                  <a:pt x="272626" y="11106"/>
                  <a:pt x="268666" y="9302"/>
                  <a:pt x="264707" y="9302"/>
                </a:cubicBezTo>
                <a:cubicBezTo>
                  <a:pt x="263987" y="9302"/>
                  <a:pt x="263987" y="9302"/>
                  <a:pt x="263627" y="9302"/>
                </a:cubicBezTo>
                <a:close/>
                <a:moveTo>
                  <a:pt x="26479" y="8916"/>
                </a:moveTo>
                <a:cubicBezTo>
                  <a:pt x="21769" y="8916"/>
                  <a:pt x="17783" y="10364"/>
                  <a:pt x="14160" y="13985"/>
                </a:cubicBezTo>
                <a:cubicBezTo>
                  <a:pt x="10899" y="17605"/>
                  <a:pt x="8726" y="21950"/>
                  <a:pt x="8726" y="26657"/>
                </a:cubicBezTo>
                <a:cubicBezTo>
                  <a:pt x="9088" y="31726"/>
                  <a:pt x="11986" y="37157"/>
                  <a:pt x="16334" y="42226"/>
                </a:cubicBezTo>
                <a:cubicBezTo>
                  <a:pt x="25754" y="51277"/>
                  <a:pt x="35899" y="52001"/>
                  <a:pt x="43870" y="44036"/>
                </a:cubicBezTo>
                <a:cubicBezTo>
                  <a:pt x="52204" y="35709"/>
                  <a:pt x="51478" y="25933"/>
                  <a:pt x="42058" y="16519"/>
                </a:cubicBezTo>
                <a:cubicBezTo>
                  <a:pt x="36986" y="11088"/>
                  <a:pt x="31551" y="8916"/>
                  <a:pt x="26479" y="8916"/>
                </a:cubicBezTo>
                <a:close/>
                <a:moveTo>
                  <a:pt x="263267" y="282"/>
                </a:moveTo>
                <a:cubicBezTo>
                  <a:pt x="270826" y="282"/>
                  <a:pt x="277305" y="3168"/>
                  <a:pt x="282345" y="8219"/>
                </a:cubicBezTo>
                <a:cubicBezTo>
                  <a:pt x="291704" y="17600"/>
                  <a:pt x="294583" y="34197"/>
                  <a:pt x="280185" y="48629"/>
                </a:cubicBezTo>
                <a:cubicBezTo>
                  <a:pt x="273346" y="55123"/>
                  <a:pt x="266147" y="58371"/>
                  <a:pt x="258948" y="58371"/>
                </a:cubicBezTo>
                <a:cubicBezTo>
                  <a:pt x="257148" y="58371"/>
                  <a:pt x="256068" y="58371"/>
                  <a:pt x="254268" y="58010"/>
                </a:cubicBezTo>
                <a:lnTo>
                  <a:pt x="253188" y="60896"/>
                </a:lnTo>
                <a:cubicBezTo>
                  <a:pt x="251029" y="65226"/>
                  <a:pt x="251029" y="69194"/>
                  <a:pt x="253188" y="72081"/>
                </a:cubicBezTo>
                <a:lnTo>
                  <a:pt x="260027" y="81822"/>
                </a:lnTo>
                <a:cubicBezTo>
                  <a:pt x="266147" y="90121"/>
                  <a:pt x="264707" y="101305"/>
                  <a:pt x="256788" y="109604"/>
                </a:cubicBezTo>
                <a:lnTo>
                  <a:pt x="248149" y="117902"/>
                </a:lnTo>
                <a:cubicBezTo>
                  <a:pt x="247429" y="118624"/>
                  <a:pt x="246349" y="118984"/>
                  <a:pt x="244909" y="118984"/>
                </a:cubicBezTo>
                <a:cubicBezTo>
                  <a:pt x="244189" y="118984"/>
                  <a:pt x="243110" y="118624"/>
                  <a:pt x="242030" y="117902"/>
                </a:cubicBezTo>
                <a:cubicBezTo>
                  <a:pt x="240230" y="116098"/>
                  <a:pt x="240230" y="113572"/>
                  <a:pt x="242030" y="111769"/>
                </a:cubicBezTo>
                <a:lnTo>
                  <a:pt x="250669" y="103109"/>
                </a:lnTo>
                <a:cubicBezTo>
                  <a:pt x="255348" y="98419"/>
                  <a:pt x="256428" y="91564"/>
                  <a:pt x="252828" y="87234"/>
                </a:cubicBezTo>
                <a:lnTo>
                  <a:pt x="248149" y="80740"/>
                </a:lnTo>
                <a:cubicBezTo>
                  <a:pt x="227991" y="79297"/>
                  <a:pt x="211433" y="63061"/>
                  <a:pt x="210353" y="42495"/>
                </a:cubicBezTo>
                <a:lnTo>
                  <a:pt x="203874" y="37805"/>
                </a:lnTo>
                <a:cubicBezTo>
                  <a:pt x="199555" y="34557"/>
                  <a:pt x="192356" y="35640"/>
                  <a:pt x="188036" y="40330"/>
                </a:cubicBezTo>
                <a:lnTo>
                  <a:pt x="179397" y="48629"/>
                </a:lnTo>
                <a:cubicBezTo>
                  <a:pt x="178677" y="49711"/>
                  <a:pt x="177238" y="50072"/>
                  <a:pt x="176158" y="50072"/>
                </a:cubicBezTo>
                <a:cubicBezTo>
                  <a:pt x="175438" y="50072"/>
                  <a:pt x="173998" y="49711"/>
                  <a:pt x="172918" y="48629"/>
                </a:cubicBezTo>
                <a:cubicBezTo>
                  <a:pt x="171118" y="47185"/>
                  <a:pt x="171118" y="44299"/>
                  <a:pt x="172918" y="42495"/>
                </a:cubicBezTo>
                <a:lnTo>
                  <a:pt x="181917" y="34197"/>
                </a:lnTo>
                <a:cubicBezTo>
                  <a:pt x="189116" y="26259"/>
                  <a:pt x="200995" y="24816"/>
                  <a:pt x="209274" y="30228"/>
                </a:cubicBezTo>
                <a:lnTo>
                  <a:pt x="218992" y="37805"/>
                </a:lnTo>
                <a:cubicBezTo>
                  <a:pt x="221872" y="39609"/>
                  <a:pt x="225832" y="39609"/>
                  <a:pt x="229791" y="37805"/>
                </a:cubicBezTo>
                <a:lnTo>
                  <a:pt x="232311" y="36361"/>
                </a:lnTo>
                <a:cubicBezTo>
                  <a:pt x="232311" y="34918"/>
                  <a:pt x="231951" y="33114"/>
                  <a:pt x="231951" y="32032"/>
                </a:cubicBezTo>
                <a:cubicBezTo>
                  <a:pt x="231951" y="24094"/>
                  <a:pt x="235550" y="17239"/>
                  <a:pt x="242030" y="10745"/>
                </a:cubicBezTo>
                <a:cubicBezTo>
                  <a:pt x="248509" y="4251"/>
                  <a:pt x="256068" y="643"/>
                  <a:pt x="263267" y="282"/>
                </a:cubicBezTo>
                <a:close/>
                <a:moveTo>
                  <a:pt x="26253" y="0"/>
                </a:moveTo>
                <a:cubicBezTo>
                  <a:pt x="33363" y="-45"/>
                  <a:pt x="41153" y="2942"/>
                  <a:pt x="48580" y="10364"/>
                </a:cubicBezTo>
                <a:cubicBezTo>
                  <a:pt x="56551" y="18692"/>
                  <a:pt x="59450" y="27743"/>
                  <a:pt x="58001" y="36071"/>
                </a:cubicBezTo>
                <a:lnTo>
                  <a:pt x="60899" y="37519"/>
                </a:lnTo>
                <a:cubicBezTo>
                  <a:pt x="64884" y="39329"/>
                  <a:pt x="68870" y="39329"/>
                  <a:pt x="71768" y="37519"/>
                </a:cubicBezTo>
                <a:lnTo>
                  <a:pt x="82275" y="29916"/>
                </a:lnTo>
                <a:cubicBezTo>
                  <a:pt x="89884" y="24485"/>
                  <a:pt x="101840" y="25933"/>
                  <a:pt x="109449" y="33898"/>
                </a:cubicBezTo>
                <a:lnTo>
                  <a:pt x="117782" y="42226"/>
                </a:lnTo>
                <a:cubicBezTo>
                  <a:pt x="119956" y="44036"/>
                  <a:pt x="119956" y="46932"/>
                  <a:pt x="117782" y="48381"/>
                </a:cubicBezTo>
                <a:cubicBezTo>
                  <a:pt x="117057" y="49467"/>
                  <a:pt x="115970" y="49829"/>
                  <a:pt x="114884" y="49829"/>
                </a:cubicBezTo>
                <a:cubicBezTo>
                  <a:pt x="113797" y="49829"/>
                  <a:pt x="112710" y="49467"/>
                  <a:pt x="111623" y="48381"/>
                </a:cubicBezTo>
                <a:lnTo>
                  <a:pt x="103290" y="40053"/>
                </a:lnTo>
                <a:cubicBezTo>
                  <a:pt x="98580" y="35347"/>
                  <a:pt x="91696" y="34260"/>
                  <a:pt x="86986" y="37519"/>
                </a:cubicBezTo>
                <a:lnTo>
                  <a:pt x="80464" y="42226"/>
                </a:lnTo>
                <a:cubicBezTo>
                  <a:pt x="79377" y="62864"/>
                  <a:pt x="62711" y="79156"/>
                  <a:pt x="42058" y="80605"/>
                </a:cubicBezTo>
                <a:lnTo>
                  <a:pt x="37348" y="87122"/>
                </a:lnTo>
                <a:cubicBezTo>
                  <a:pt x="34087" y="91467"/>
                  <a:pt x="35537" y="98346"/>
                  <a:pt x="40247" y="103052"/>
                </a:cubicBezTo>
                <a:lnTo>
                  <a:pt x="48580" y="111742"/>
                </a:lnTo>
                <a:cubicBezTo>
                  <a:pt x="50029" y="113552"/>
                  <a:pt x="50029" y="116087"/>
                  <a:pt x="48580" y="117897"/>
                </a:cubicBezTo>
                <a:cubicBezTo>
                  <a:pt x="47493" y="118621"/>
                  <a:pt x="46768" y="118983"/>
                  <a:pt x="45681" y="118983"/>
                </a:cubicBezTo>
                <a:cubicBezTo>
                  <a:pt x="44232" y="118983"/>
                  <a:pt x="43145" y="118621"/>
                  <a:pt x="42421" y="117897"/>
                </a:cubicBezTo>
                <a:lnTo>
                  <a:pt x="34087" y="109570"/>
                </a:lnTo>
                <a:cubicBezTo>
                  <a:pt x="25754" y="101242"/>
                  <a:pt x="24667" y="90018"/>
                  <a:pt x="30464" y="81691"/>
                </a:cubicBezTo>
                <a:lnTo>
                  <a:pt x="37348" y="71915"/>
                </a:lnTo>
                <a:cubicBezTo>
                  <a:pt x="39522" y="69019"/>
                  <a:pt x="39522" y="65036"/>
                  <a:pt x="37348" y="60691"/>
                </a:cubicBezTo>
                <a:lnTo>
                  <a:pt x="36261" y="57795"/>
                </a:lnTo>
                <a:cubicBezTo>
                  <a:pt x="34450" y="58157"/>
                  <a:pt x="33363" y="58157"/>
                  <a:pt x="31551" y="58157"/>
                </a:cubicBezTo>
                <a:cubicBezTo>
                  <a:pt x="24667" y="58157"/>
                  <a:pt x="17059" y="54898"/>
                  <a:pt x="10175" y="48381"/>
                </a:cubicBezTo>
                <a:cubicBezTo>
                  <a:pt x="3653" y="41864"/>
                  <a:pt x="30" y="34622"/>
                  <a:pt x="30" y="27019"/>
                </a:cubicBezTo>
                <a:cubicBezTo>
                  <a:pt x="-332" y="19778"/>
                  <a:pt x="2566" y="13261"/>
                  <a:pt x="8001" y="7830"/>
                </a:cubicBezTo>
                <a:cubicBezTo>
                  <a:pt x="12711" y="3123"/>
                  <a:pt x="19142" y="46"/>
                  <a:pt x="262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0" name="Freeform 1059">
            <a:extLst>
              <a:ext uri="{FF2B5EF4-FFF2-40B4-BE49-F238E27FC236}">
                <a16:creationId xmlns:a16="http://schemas.microsoft.com/office/drawing/2014/main" id="{0CEA3C14-EEC6-AC4C-AF5E-B793A9FB490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340418" y="900278"/>
            <a:ext cx="530225" cy="527050"/>
          </a:xfrm>
          <a:custGeom>
            <a:avLst/>
            <a:gdLst>
              <a:gd name="T0" fmla="*/ 89779237 w 291737"/>
              <a:gd name="T1" fmla="*/ 109284772 h 290153"/>
              <a:gd name="T2" fmla="*/ 102871663 w 291737"/>
              <a:gd name="T3" fmla="*/ 104718570 h 290153"/>
              <a:gd name="T4" fmla="*/ 123273045 w 291737"/>
              <a:gd name="T5" fmla="*/ 122214270 h 290153"/>
              <a:gd name="T6" fmla="*/ 124538682 w 291737"/>
              <a:gd name="T7" fmla="*/ 105031042 h 290153"/>
              <a:gd name="T8" fmla="*/ 99391902 w 291737"/>
              <a:gd name="T9" fmla="*/ 125807186 h 290153"/>
              <a:gd name="T10" fmla="*/ 102871663 w 291737"/>
              <a:gd name="T11" fmla="*/ 104718570 h 290153"/>
              <a:gd name="T12" fmla="*/ 3931849 w 291737"/>
              <a:gd name="T13" fmla="*/ 122214270 h 290153"/>
              <a:gd name="T14" fmla="*/ 24383897 w 291737"/>
              <a:gd name="T15" fmla="*/ 104718570 h 290153"/>
              <a:gd name="T16" fmla="*/ 27686387 w 291737"/>
              <a:gd name="T17" fmla="*/ 125807186 h 290153"/>
              <a:gd name="T18" fmla="*/ 2675210 w 291737"/>
              <a:gd name="T19" fmla="*/ 105031042 h 290153"/>
              <a:gd name="T20" fmla="*/ 111858698 w 291737"/>
              <a:gd name="T21" fmla="*/ 101300184 h 290153"/>
              <a:gd name="T22" fmla="*/ 10672229 w 291737"/>
              <a:gd name="T23" fmla="*/ 96976848 h 290153"/>
              <a:gd name="T24" fmla="*/ 111858698 w 291737"/>
              <a:gd name="T25" fmla="*/ 88794158 h 290153"/>
              <a:gd name="T26" fmla="*/ 111858698 w 291737"/>
              <a:gd name="T27" fmla="*/ 88794158 h 290153"/>
              <a:gd name="T28" fmla="*/ 6915088 w 291737"/>
              <a:gd name="T29" fmla="*/ 96976848 h 290153"/>
              <a:gd name="T30" fmla="*/ 99462300 w 291737"/>
              <a:gd name="T31" fmla="*/ 96153616 h 290153"/>
              <a:gd name="T32" fmla="*/ 82229262 w 291737"/>
              <a:gd name="T33" fmla="*/ 84875441 h 290153"/>
              <a:gd name="T34" fmla="*/ 44678279 w 291737"/>
              <a:gd name="T35" fmla="*/ 84875441 h 290153"/>
              <a:gd name="T36" fmla="*/ 27764580 w 291737"/>
              <a:gd name="T37" fmla="*/ 96153616 h 290153"/>
              <a:gd name="T38" fmla="*/ 52334178 w 291737"/>
              <a:gd name="T39" fmla="*/ 68852146 h 290153"/>
              <a:gd name="T40" fmla="*/ 72313118 w 291737"/>
              <a:gd name="T41" fmla="*/ 64165631 h 290153"/>
              <a:gd name="T42" fmla="*/ 77976585 w 291737"/>
              <a:gd name="T43" fmla="*/ 80724467 h 290153"/>
              <a:gd name="T44" fmla="*/ 48401249 w 291737"/>
              <a:gd name="T45" fmla="*/ 68852146 h 290153"/>
              <a:gd name="T46" fmla="*/ 59193458 w 291737"/>
              <a:gd name="T47" fmla="*/ 54222035 h 290153"/>
              <a:gd name="T48" fmla="*/ 63536008 w 291737"/>
              <a:gd name="T49" fmla="*/ 46117364 h 290153"/>
              <a:gd name="T50" fmla="*/ 63536008 w 291737"/>
              <a:gd name="T51" fmla="*/ 46117364 h 290153"/>
              <a:gd name="T52" fmla="*/ 111765453 w 291737"/>
              <a:gd name="T53" fmla="*/ 83819484 h 290153"/>
              <a:gd name="T54" fmla="*/ 15051580 w 291737"/>
              <a:gd name="T55" fmla="*/ 41987648 h 290153"/>
              <a:gd name="T56" fmla="*/ 13138120 w 291737"/>
              <a:gd name="T57" fmla="*/ 82102572 h 290153"/>
              <a:gd name="T58" fmla="*/ 91709610 w 291737"/>
              <a:gd name="T59" fmla="*/ 35208138 h 290153"/>
              <a:gd name="T60" fmla="*/ 77223386 w 291737"/>
              <a:gd name="T61" fmla="*/ 49457136 h 290153"/>
              <a:gd name="T62" fmla="*/ 37911938 w 291737"/>
              <a:gd name="T63" fmla="*/ 35208138 h 290153"/>
              <a:gd name="T64" fmla="*/ 46976875 w 291737"/>
              <a:gd name="T65" fmla="*/ 49457136 h 290153"/>
              <a:gd name="T66" fmla="*/ 89779237 w 291737"/>
              <a:gd name="T67" fmla="*/ 16518775 h 290153"/>
              <a:gd name="T68" fmla="*/ 34572388 w 291737"/>
              <a:gd name="T69" fmla="*/ 18502114 h 290153"/>
              <a:gd name="T70" fmla="*/ 101289900 w 291737"/>
              <a:gd name="T71" fmla="*/ 23421996 h 290153"/>
              <a:gd name="T72" fmla="*/ 121533257 w 291737"/>
              <a:gd name="T73" fmla="*/ 18424099 h 290153"/>
              <a:gd name="T74" fmla="*/ 127068263 w 291737"/>
              <a:gd name="T75" fmla="*/ 35139610 h 290153"/>
              <a:gd name="T76" fmla="*/ 97494406 w 291737"/>
              <a:gd name="T77" fmla="*/ 23421996 h 290153"/>
              <a:gd name="T78" fmla="*/ 5662450 w 291737"/>
              <a:gd name="T79" fmla="*/ 18424099 h 290153"/>
              <a:gd name="T80" fmla="*/ 25641957 w 291737"/>
              <a:gd name="T81" fmla="*/ 23421996 h 290153"/>
              <a:gd name="T82" fmla="*/ 29575230 w 291737"/>
              <a:gd name="T83" fmla="*/ 23421996 h 290153"/>
              <a:gd name="T84" fmla="*/ 0 w 291737"/>
              <a:gd name="T85" fmla="*/ 35139610 h 290153"/>
              <a:gd name="T86" fmla="*/ 111858698 w 291737"/>
              <a:gd name="T87" fmla="*/ 3859771 h 290153"/>
              <a:gd name="T88" fmla="*/ 111858698 w 291737"/>
              <a:gd name="T89" fmla="*/ 3859771 h 290153"/>
              <a:gd name="T90" fmla="*/ 19439297 w 291737"/>
              <a:gd name="T91" fmla="*/ 8182036 h 290153"/>
              <a:gd name="T92" fmla="*/ 111858698 w 291737"/>
              <a:gd name="T93" fmla="*/ 16365797 h 290153"/>
              <a:gd name="T94" fmla="*/ 23352569 w 291737"/>
              <a:gd name="T95" fmla="*/ 8182036 h 2901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1737" h="290153">
                <a:moveTo>
                  <a:pt x="83671" y="242888"/>
                </a:moveTo>
                <a:lnTo>
                  <a:pt x="206125" y="242888"/>
                </a:lnTo>
                <a:cubicBezTo>
                  <a:pt x="208631" y="242888"/>
                  <a:pt x="210779" y="245086"/>
                  <a:pt x="210779" y="247651"/>
                </a:cubicBezTo>
                <a:cubicBezTo>
                  <a:pt x="210779" y="250215"/>
                  <a:pt x="208631" y="252047"/>
                  <a:pt x="206125" y="252047"/>
                </a:cubicBezTo>
                <a:lnTo>
                  <a:pt x="83671" y="252047"/>
                </a:lnTo>
                <a:cubicBezTo>
                  <a:pt x="81523" y="252047"/>
                  <a:pt x="79375" y="250215"/>
                  <a:pt x="79375" y="247651"/>
                </a:cubicBezTo>
                <a:cubicBezTo>
                  <a:pt x="79375" y="245086"/>
                  <a:pt x="81523" y="242888"/>
                  <a:pt x="83671" y="242888"/>
                </a:cubicBezTo>
                <a:close/>
                <a:moveTo>
                  <a:pt x="236183" y="241515"/>
                </a:moveTo>
                <a:cubicBezTo>
                  <a:pt x="237998" y="242956"/>
                  <a:pt x="238361" y="245838"/>
                  <a:pt x="236546" y="248000"/>
                </a:cubicBezTo>
                <a:cubicBezTo>
                  <a:pt x="233641" y="250882"/>
                  <a:pt x="232552" y="254845"/>
                  <a:pt x="232552" y="258808"/>
                </a:cubicBezTo>
                <a:lnTo>
                  <a:pt x="232552" y="281866"/>
                </a:lnTo>
                <a:lnTo>
                  <a:pt x="283023" y="281866"/>
                </a:lnTo>
                <a:lnTo>
                  <a:pt x="283023" y="258808"/>
                </a:lnTo>
                <a:cubicBezTo>
                  <a:pt x="283023" y="254845"/>
                  <a:pt x="281570" y="250882"/>
                  <a:pt x="279029" y="248000"/>
                </a:cubicBezTo>
                <a:cubicBezTo>
                  <a:pt x="277213" y="245838"/>
                  <a:pt x="277939" y="242956"/>
                  <a:pt x="279392" y="241515"/>
                </a:cubicBezTo>
                <a:cubicBezTo>
                  <a:pt x="281570" y="239713"/>
                  <a:pt x="284475" y="240074"/>
                  <a:pt x="285928" y="242235"/>
                </a:cubicBezTo>
                <a:cubicBezTo>
                  <a:pt x="289559" y="246559"/>
                  <a:pt x="291737" y="252683"/>
                  <a:pt x="291737" y="258808"/>
                </a:cubicBezTo>
                <a:lnTo>
                  <a:pt x="291737" y="285830"/>
                </a:lnTo>
                <a:cubicBezTo>
                  <a:pt x="291737" y="288712"/>
                  <a:pt x="289922" y="290153"/>
                  <a:pt x="287743" y="290153"/>
                </a:cubicBezTo>
                <a:lnTo>
                  <a:pt x="228194" y="290153"/>
                </a:lnTo>
                <a:cubicBezTo>
                  <a:pt x="226016" y="290153"/>
                  <a:pt x="223837" y="288712"/>
                  <a:pt x="223837" y="285830"/>
                </a:cubicBezTo>
                <a:lnTo>
                  <a:pt x="223837" y="258808"/>
                </a:lnTo>
                <a:cubicBezTo>
                  <a:pt x="223837" y="252683"/>
                  <a:pt x="226016" y="246559"/>
                  <a:pt x="229647" y="242235"/>
                </a:cubicBezTo>
                <a:cubicBezTo>
                  <a:pt x="231462" y="240074"/>
                  <a:pt x="234367" y="239713"/>
                  <a:pt x="236183" y="241515"/>
                </a:cubicBezTo>
                <a:close/>
                <a:moveTo>
                  <a:pt x="12280" y="241515"/>
                </a:moveTo>
                <a:cubicBezTo>
                  <a:pt x="14447" y="242956"/>
                  <a:pt x="14808" y="245838"/>
                  <a:pt x="13002" y="248000"/>
                </a:cubicBezTo>
                <a:cubicBezTo>
                  <a:pt x="10835" y="250882"/>
                  <a:pt x="9029" y="254845"/>
                  <a:pt x="9029" y="258808"/>
                </a:cubicBezTo>
                <a:lnTo>
                  <a:pt x="9029" y="281866"/>
                </a:lnTo>
                <a:lnTo>
                  <a:pt x="59232" y="281866"/>
                </a:lnTo>
                <a:lnTo>
                  <a:pt x="59232" y="258808"/>
                </a:lnTo>
                <a:cubicBezTo>
                  <a:pt x="59232" y="254845"/>
                  <a:pt x="57788" y="250882"/>
                  <a:pt x="55259" y="248000"/>
                </a:cubicBezTo>
                <a:cubicBezTo>
                  <a:pt x="53454" y="245838"/>
                  <a:pt x="54176" y="242956"/>
                  <a:pt x="55982" y="241515"/>
                </a:cubicBezTo>
                <a:cubicBezTo>
                  <a:pt x="57788" y="239713"/>
                  <a:pt x="60677" y="240074"/>
                  <a:pt x="61761" y="242235"/>
                </a:cubicBezTo>
                <a:cubicBezTo>
                  <a:pt x="65734" y="246559"/>
                  <a:pt x="67901" y="252683"/>
                  <a:pt x="67901" y="258808"/>
                </a:cubicBezTo>
                <a:lnTo>
                  <a:pt x="67901" y="285830"/>
                </a:lnTo>
                <a:cubicBezTo>
                  <a:pt x="67901" y="288712"/>
                  <a:pt x="65734" y="290153"/>
                  <a:pt x="63566" y="290153"/>
                </a:cubicBezTo>
                <a:lnTo>
                  <a:pt x="4695" y="290153"/>
                </a:lnTo>
                <a:cubicBezTo>
                  <a:pt x="2528" y="290153"/>
                  <a:pt x="0" y="288712"/>
                  <a:pt x="0" y="285830"/>
                </a:cubicBezTo>
                <a:lnTo>
                  <a:pt x="0" y="258808"/>
                </a:lnTo>
                <a:cubicBezTo>
                  <a:pt x="0" y="252683"/>
                  <a:pt x="2528" y="246559"/>
                  <a:pt x="6140" y="242235"/>
                </a:cubicBezTo>
                <a:cubicBezTo>
                  <a:pt x="7946" y="240074"/>
                  <a:pt x="10835" y="239713"/>
                  <a:pt x="12280" y="241515"/>
                </a:cubicBezTo>
                <a:close/>
                <a:moveTo>
                  <a:pt x="256816" y="213690"/>
                </a:moveTo>
                <a:cubicBezTo>
                  <a:pt x="251065" y="213690"/>
                  <a:pt x="246752" y="217963"/>
                  <a:pt x="246752" y="223660"/>
                </a:cubicBezTo>
                <a:cubicBezTo>
                  <a:pt x="246752" y="229357"/>
                  <a:pt x="251065" y="233630"/>
                  <a:pt x="256816" y="233630"/>
                </a:cubicBezTo>
                <a:cubicBezTo>
                  <a:pt x="262926" y="233630"/>
                  <a:pt x="267599" y="229357"/>
                  <a:pt x="267599" y="223660"/>
                </a:cubicBezTo>
                <a:cubicBezTo>
                  <a:pt x="267599" y="217963"/>
                  <a:pt x="262926" y="213690"/>
                  <a:pt x="256816" y="213690"/>
                </a:cubicBezTo>
                <a:close/>
                <a:moveTo>
                  <a:pt x="34565" y="213690"/>
                </a:moveTo>
                <a:cubicBezTo>
                  <a:pt x="29174" y="213690"/>
                  <a:pt x="24501" y="217963"/>
                  <a:pt x="24501" y="223660"/>
                </a:cubicBezTo>
                <a:cubicBezTo>
                  <a:pt x="24501" y="229357"/>
                  <a:pt x="29174" y="233630"/>
                  <a:pt x="34565" y="233630"/>
                </a:cubicBezTo>
                <a:cubicBezTo>
                  <a:pt x="40316" y="233630"/>
                  <a:pt x="44629" y="229357"/>
                  <a:pt x="44629" y="223660"/>
                </a:cubicBezTo>
                <a:cubicBezTo>
                  <a:pt x="44629" y="217963"/>
                  <a:pt x="40316" y="213690"/>
                  <a:pt x="34565" y="213690"/>
                </a:cubicBezTo>
                <a:close/>
                <a:moveTo>
                  <a:pt x="256816" y="204788"/>
                </a:moveTo>
                <a:cubicBezTo>
                  <a:pt x="267599" y="204788"/>
                  <a:pt x="275866" y="213334"/>
                  <a:pt x="275866" y="223660"/>
                </a:cubicBezTo>
                <a:cubicBezTo>
                  <a:pt x="275866" y="234342"/>
                  <a:pt x="267599" y="242532"/>
                  <a:pt x="256816" y="242532"/>
                </a:cubicBezTo>
                <a:cubicBezTo>
                  <a:pt x="246752" y="242532"/>
                  <a:pt x="238125" y="234342"/>
                  <a:pt x="238125" y="223660"/>
                </a:cubicBezTo>
                <a:cubicBezTo>
                  <a:pt x="238125" y="213334"/>
                  <a:pt x="246752" y="204788"/>
                  <a:pt x="256816" y="204788"/>
                </a:cubicBezTo>
                <a:close/>
                <a:moveTo>
                  <a:pt x="34565" y="204788"/>
                </a:moveTo>
                <a:cubicBezTo>
                  <a:pt x="45348" y="204788"/>
                  <a:pt x="53615" y="213334"/>
                  <a:pt x="53615" y="223660"/>
                </a:cubicBezTo>
                <a:cubicBezTo>
                  <a:pt x="53615" y="234342"/>
                  <a:pt x="45348" y="242532"/>
                  <a:pt x="34565" y="242532"/>
                </a:cubicBezTo>
                <a:cubicBezTo>
                  <a:pt x="24142" y="242532"/>
                  <a:pt x="15875" y="234342"/>
                  <a:pt x="15875" y="223660"/>
                </a:cubicBezTo>
                <a:cubicBezTo>
                  <a:pt x="15875" y="213334"/>
                  <a:pt x="24142" y="204788"/>
                  <a:pt x="34565" y="204788"/>
                </a:cubicBezTo>
                <a:close/>
                <a:moveTo>
                  <a:pt x="188791" y="189157"/>
                </a:moveTo>
                <a:cubicBezTo>
                  <a:pt x="190622" y="187325"/>
                  <a:pt x="193553" y="187325"/>
                  <a:pt x="195385" y="189157"/>
                </a:cubicBezTo>
                <a:lnTo>
                  <a:pt x="228356" y="221762"/>
                </a:lnTo>
                <a:cubicBezTo>
                  <a:pt x="229821" y="223960"/>
                  <a:pt x="229821" y="226891"/>
                  <a:pt x="228356" y="228356"/>
                </a:cubicBezTo>
                <a:cubicBezTo>
                  <a:pt x="226890" y="229089"/>
                  <a:pt x="226157" y="229822"/>
                  <a:pt x="225058" y="229822"/>
                </a:cubicBezTo>
                <a:cubicBezTo>
                  <a:pt x="223593" y="229822"/>
                  <a:pt x="222860" y="229089"/>
                  <a:pt x="222128" y="228356"/>
                </a:cubicBezTo>
                <a:lnTo>
                  <a:pt x="188791" y="195751"/>
                </a:lnTo>
                <a:cubicBezTo>
                  <a:pt x="187325" y="193553"/>
                  <a:pt x="187325" y="190622"/>
                  <a:pt x="188791" y="189157"/>
                </a:cubicBezTo>
                <a:close/>
                <a:moveTo>
                  <a:pt x="96349" y="189157"/>
                </a:moveTo>
                <a:cubicBezTo>
                  <a:pt x="98180" y="187325"/>
                  <a:pt x="100745" y="187325"/>
                  <a:pt x="102577" y="189157"/>
                </a:cubicBezTo>
                <a:cubicBezTo>
                  <a:pt x="104408" y="190622"/>
                  <a:pt x="104408" y="193553"/>
                  <a:pt x="102577" y="195751"/>
                </a:cubicBezTo>
                <a:lnTo>
                  <a:pt x="69971" y="228356"/>
                </a:lnTo>
                <a:cubicBezTo>
                  <a:pt x="68872" y="229089"/>
                  <a:pt x="67773" y="229822"/>
                  <a:pt x="66674" y="229822"/>
                </a:cubicBezTo>
                <a:cubicBezTo>
                  <a:pt x="65575" y="229822"/>
                  <a:pt x="64476" y="229089"/>
                  <a:pt x="63744" y="228356"/>
                </a:cubicBezTo>
                <a:cubicBezTo>
                  <a:pt x="61912" y="226891"/>
                  <a:pt x="61912" y="223960"/>
                  <a:pt x="63744" y="221762"/>
                </a:cubicBezTo>
                <a:lnTo>
                  <a:pt x="96349" y="189157"/>
                </a:lnTo>
                <a:close/>
                <a:moveTo>
                  <a:pt x="123405" y="141862"/>
                </a:moveTo>
                <a:cubicBezTo>
                  <a:pt x="125572" y="142943"/>
                  <a:pt x="125572" y="145825"/>
                  <a:pt x="123766" y="147987"/>
                </a:cubicBezTo>
                <a:cubicBezTo>
                  <a:pt x="121599" y="150509"/>
                  <a:pt x="120154" y="154832"/>
                  <a:pt x="120154" y="158795"/>
                </a:cubicBezTo>
                <a:lnTo>
                  <a:pt x="120154" y="181493"/>
                </a:lnTo>
                <a:lnTo>
                  <a:pt x="169996" y="181493"/>
                </a:lnTo>
                <a:lnTo>
                  <a:pt x="169996" y="158795"/>
                </a:lnTo>
                <a:cubicBezTo>
                  <a:pt x="169996" y="154832"/>
                  <a:pt x="168913" y="150509"/>
                  <a:pt x="166023" y="147987"/>
                </a:cubicBezTo>
                <a:cubicBezTo>
                  <a:pt x="164217" y="145825"/>
                  <a:pt x="164940" y="142943"/>
                  <a:pt x="166746" y="141862"/>
                </a:cubicBezTo>
                <a:cubicBezTo>
                  <a:pt x="168552" y="140061"/>
                  <a:pt x="171802" y="140421"/>
                  <a:pt x="172886" y="142222"/>
                </a:cubicBezTo>
                <a:cubicBezTo>
                  <a:pt x="176498" y="146546"/>
                  <a:pt x="179026" y="152670"/>
                  <a:pt x="179026" y="158795"/>
                </a:cubicBezTo>
                <a:lnTo>
                  <a:pt x="179026" y="186177"/>
                </a:lnTo>
                <a:cubicBezTo>
                  <a:pt x="179026" y="188699"/>
                  <a:pt x="176859" y="190140"/>
                  <a:pt x="174691" y="190140"/>
                </a:cubicBezTo>
                <a:lnTo>
                  <a:pt x="115820" y="190140"/>
                </a:lnTo>
                <a:cubicBezTo>
                  <a:pt x="113292" y="190140"/>
                  <a:pt x="111125" y="188699"/>
                  <a:pt x="111125" y="186177"/>
                </a:cubicBezTo>
                <a:lnTo>
                  <a:pt x="111125" y="158795"/>
                </a:lnTo>
                <a:cubicBezTo>
                  <a:pt x="111125" y="152670"/>
                  <a:pt x="113292" y="146546"/>
                  <a:pt x="117265" y="142222"/>
                </a:cubicBezTo>
                <a:cubicBezTo>
                  <a:pt x="118709" y="140421"/>
                  <a:pt x="121599" y="139700"/>
                  <a:pt x="123405" y="141862"/>
                </a:cubicBezTo>
                <a:close/>
                <a:moveTo>
                  <a:pt x="145872" y="114990"/>
                </a:moveTo>
                <a:cubicBezTo>
                  <a:pt x="140175" y="114990"/>
                  <a:pt x="135902" y="119662"/>
                  <a:pt x="135902" y="125054"/>
                </a:cubicBezTo>
                <a:cubicBezTo>
                  <a:pt x="135902" y="130805"/>
                  <a:pt x="140175" y="135118"/>
                  <a:pt x="145872" y="135118"/>
                </a:cubicBezTo>
                <a:cubicBezTo>
                  <a:pt x="151569" y="135118"/>
                  <a:pt x="155842" y="130805"/>
                  <a:pt x="155842" y="125054"/>
                </a:cubicBezTo>
                <a:cubicBezTo>
                  <a:pt x="155842" y="119662"/>
                  <a:pt x="151569" y="114990"/>
                  <a:pt x="145872" y="114990"/>
                </a:cubicBezTo>
                <a:close/>
                <a:moveTo>
                  <a:pt x="145872" y="106363"/>
                </a:moveTo>
                <a:cubicBezTo>
                  <a:pt x="156554" y="106363"/>
                  <a:pt x="164744" y="114271"/>
                  <a:pt x="164744" y="125054"/>
                </a:cubicBezTo>
                <a:cubicBezTo>
                  <a:pt x="164744" y="135477"/>
                  <a:pt x="156554" y="144104"/>
                  <a:pt x="145872" y="144104"/>
                </a:cubicBezTo>
                <a:cubicBezTo>
                  <a:pt x="135546" y="144104"/>
                  <a:pt x="127000" y="135477"/>
                  <a:pt x="127000" y="125054"/>
                </a:cubicBezTo>
                <a:cubicBezTo>
                  <a:pt x="127000" y="114271"/>
                  <a:pt x="135546" y="106363"/>
                  <a:pt x="145872" y="106363"/>
                </a:cubicBezTo>
                <a:close/>
                <a:moveTo>
                  <a:pt x="256603" y="96838"/>
                </a:moveTo>
                <a:cubicBezTo>
                  <a:pt x="259270" y="96838"/>
                  <a:pt x="261556" y="98998"/>
                  <a:pt x="261556" y="101158"/>
                </a:cubicBezTo>
                <a:lnTo>
                  <a:pt x="261556" y="189355"/>
                </a:lnTo>
                <a:cubicBezTo>
                  <a:pt x="261556" y="191875"/>
                  <a:pt x="259270" y="193315"/>
                  <a:pt x="256603" y="193315"/>
                </a:cubicBezTo>
                <a:cubicBezTo>
                  <a:pt x="254317" y="193315"/>
                  <a:pt x="252412" y="191875"/>
                  <a:pt x="252412" y="189355"/>
                </a:cubicBezTo>
                <a:lnTo>
                  <a:pt x="252412" y="101158"/>
                </a:lnTo>
                <a:cubicBezTo>
                  <a:pt x="252412" y="98998"/>
                  <a:pt x="254317" y="96838"/>
                  <a:pt x="256603" y="96838"/>
                </a:cubicBezTo>
                <a:close/>
                <a:moveTo>
                  <a:pt x="34558" y="96838"/>
                </a:moveTo>
                <a:cubicBezTo>
                  <a:pt x="37122" y="96838"/>
                  <a:pt x="39320" y="98998"/>
                  <a:pt x="39320" y="101158"/>
                </a:cubicBezTo>
                <a:lnTo>
                  <a:pt x="39320" y="189355"/>
                </a:lnTo>
                <a:cubicBezTo>
                  <a:pt x="39320" y="191875"/>
                  <a:pt x="37122" y="193315"/>
                  <a:pt x="34558" y="193315"/>
                </a:cubicBezTo>
                <a:cubicBezTo>
                  <a:pt x="31993" y="193315"/>
                  <a:pt x="30162" y="191875"/>
                  <a:pt x="30162" y="189355"/>
                </a:cubicBezTo>
                <a:lnTo>
                  <a:pt x="30162" y="101158"/>
                </a:lnTo>
                <a:cubicBezTo>
                  <a:pt x="30162" y="98998"/>
                  <a:pt x="31993" y="96838"/>
                  <a:pt x="34558" y="96838"/>
                </a:cubicBezTo>
                <a:close/>
                <a:moveTo>
                  <a:pt x="204410" y="81201"/>
                </a:moveTo>
                <a:cubicBezTo>
                  <a:pt x="206218" y="79375"/>
                  <a:pt x="208387" y="79375"/>
                  <a:pt x="210556" y="81201"/>
                </a:cubicBezTo>
                <a:cubicBezTo>
                  <a:pt x="212364" y="82661"/>
                  <a:pt x="212364" y="85582"/>
                  <a:pt x="210556" y="87408"/>
                </a:cubicBezTo>
                <a:lnTo>
                  <a:pt x="184166" y="114063"/>
                </a:lnTo>
                <a:cubicBezTo>
                  <a:pt x="183081" y="114793"/>
                  <a:pt x="181996" y="115523"/>
                  <a:pt x="180912" y="115523"/>
                </a:cubicBezTo>
                <a:cubicBezTo>
                  <a:pt x="179466" y="115523"/>
                  <a:pt x="178743" y="114793"/>
                  <a:pt x="177297" y="114063"/>
                </a:cubicBezTo>
                <a:cubicBezTo>
                  <a:pt x="176212" y="112602"/>
                  <a:pt x="176212" y="109681"/>
                  <a:pt x="177297" y="107855"/>
                </a:cubicBezTo>
                <a:lnTo>
                  <a:pt x="204410" y="81201"/>
                </a:lnTo>
                <a:close/>
                <a:moveTo>
                  <a:pt x="80835" y="81201"/>
                </a:moveTo>
                <a:cubicBezTo>
                  <a:pt x="82661" y="79375"/>
                  <a:pt x="85947" y="79375"/>
                  <a:pt x="87042" y="81201"/>
                </a:cubicBezTo>
                <a:lnTo>
                  <a:pt x="114061" y="107855"/>
                </a:lnTo>
                <a:cubicBezTo>
                  <a:pt x="115522" y="109681"/>
                  <a:pt x="115522" y="112602"/>
                  <a:pt x="114061" y="114063"/>
                </a:cubicBezTo>
                <a:cubicBezTo>
                  <a:pt x="113331" y="114793"/>
                  <a:pt x="111870" y="115523"/>
                  <a:pt x="111140" y="115523"/>
                </a:cubicBezTo>
                <a:cubicBezTo>
                  <a:pt x="109680" y="115523"/>
                  <a:pt x="108584" y="114793"/>
                  <a:pt x="107854" y="114063"/>
                </a:cubicBezTo>
                <a:lnTo>
                  <a:pt x="80835" y="87408"/>
                </a:lnTo>
                <a:cubicBezTo>
                  <a:pt x="79375" y="85582"/>
                  <a:pt x="79375" y="82661"/>
                  <a:pt x="80835" y="81201"/>
                </a:cubicBezTo>
                <a:close/>
                <a:moveTo>
                  <a:pt x="83671" y="38100"/>
                </a:moveTo>
                <a:lnTo>
                  <a:pt x="206125" y="38100"/>
                </a:lnTo>
                <a:cubicBezTo>
                  <a:pt x="208631" y="38100"/>
                  <a:pt x="210779" y="40386"/>
                  <a:pt x="210779" y="42672"/>
                </a:cubicBezTo>
                <a:cubicBezTo>
                  <a:pt x="210779" y="45339"/>
                  <a:pt x="208631" y="47244"/>
                  <a:pt x="206125" y="47244"/>
                </a:cubicBezTo>
                <a:lnTo>
                  <a:pt x="83671" y="47244"/>
                </a:lnTo>
                <a:cubicBezTo>
                  <a:pt x="81523" y="47244"/>
                  <a:pt x="79375" y="45339"/>
                  <a:pt x="79375" y="42672"/>
                </a:cubicBezTo>
                <a:cubicBezTo>
                  <a:pt x="79375" y="40386"/>
                  <a:pt x="81523" y="38100"/>
                  <a:pt x="83671" y="38100"/>
                </a:cubicBezTo>
                <a:close/>
                <a:moveTo>
                  <a:pt x="236183" y="36366"/>
                </a:moveTo>
                <a:cubicBezTo>
                  <a:pt x="237998" y="38167"/>
                  <a:pt x="238361" y="41050"/>
                  <a:pt x="236546" y="42491"/>
                </a:cubicBezTo>
                <a:cubicBezTo>
                  <a:pt x="233641" y="45733"/>
                  <a:pt x="232552" y="50057"/>
                  <a:pt x="232552" y="54020"/>
                </a:cubicBezTo>
                <a:lnTo>
                  <a:pt x="232552" y="76718"/>
                </a:lnTo>
                <a:lnTo>
                  <a:pt x="283023" y="76718"/>
                </a:lnTo>
                <a:lnTo>
                  <a:pt x="283023" y="54020"/>
                </a:lnTo>
                <a:cubicBezTo>
                  <a:pt x="283023" y="50057"/>
                  <a:pt x="281570" y="45733"/>
                  <a:pt x="279029" y="42491"/>
                </a:cubicBezTo>
                <a:cubicBezTo>
                  <a:pt x="277213" y="41050"/>
                  <a:pt x="277939" y="38167"/>
                  <a:pt x="279392" y="36366"/>
                </a:cubicBezTo>
                <a:cubicBezTo>
                  <a:pt x="281570" y="34925"/>
                  <a:pt x="284475" y="35285"/>
                  <a:pt x="285928" y="37447"/>
                </a:cubicBezTo>
                <a:cubicBezTo>
                  <a:pt x="289559" y="41770"/>
                  <a:pt x="291737" y="47895"/>
                  <a:pt x="291737" y="54020"/>
                </a:cubicBezTo>
                <a:lnTo>
                  <a:pt x="291737" y="81042"/>
                </a:lnTo>
                <a:cubicBezTo>
                  <a:pt x="291737" y="83924"/>
                  <a:pt x="289922" y="85365"/>
                  <a:pt x="287743" y="85365"/>
                </a:cubicBezTo>
                <a:lnTo>
                  <a:pt x="228194" y="85365"/>
                </a:lnTo>
                <a:cubicBezTo>
                  <a:pt x="226016" y="85365"/>
                  <a:pt x="223837" y="83924"/>
                  <a:pt x="223837" y="81042"/>
                </a:cubicBezTo>
                <a:lnTo>
                  <a:pt x="223837" y="54020"/>
                </a:lnTo>
                <a:cubicBezTo>
                  <a:pt x="223837" y="47895"/>
                  <a:pt x="226016" y="41770"/>
                  <a:pt x="229647" y="37447"/>
                </a:cubicBezTo>
                <a:cubicBezTo>
                  <a:pt x="231462" y="35285"/>
                  <a:pt x="234367" y="34925"/>
                  <a:pt x="236183" y="36366"/>
                </a:cubicBezTo>
                <a:close/>
                <a:moveTo>
                  <a:pt x="12280" y="36366"/>
                </a:moveTo>
                <a:cubicBezTo>
                  <a:pt x="14447" y="38167"/>
                  <a:pt x="14808" y="41050"/>
                  <a:pt x="13002" y="42491"/>
                </a:cubicBezTo>
                <a:cubicBezTo>
                  <a:pt x="10835" y="45733"/>
                  <a:pt x="9029" y="50057"/>
                  <a:pt x="9029" y="54020"/>
                </a:cubicBezTo>
                <a:lnTo>
                  <a:pt x="9029" y="76718"/>
                </a:lnTo>
                <a:lnTo>
                  <a:pt x="58871" y="76718"/>
                </a:lnTo>
                <a:lnTo>
                  <a:pt x="58871" y="54020"/>
                </a:lnTo>
                <a:cubicBezTo>
                  <a:pt x="58871" y="50057"/>
                  <a:pt x="57788" y="45733"/>
                  <a:pt x="55259" y="42491"/>
                </a:cubicBezTo>
                <a:cubicBezTo>
                  <a:pt x="53454" y="41050"/>
                  <a:pt x="54176" y="38167"/>
                  <a:pt x="55982" y="36366"/>
                </a:cubicBezTo>
                <a:cubicBezTo>
                  <a:pt x="57788" y="34925"/>
                  <a:pt x="60677" y="35285"/>
                  <a:pt x="61761" y="37447"/>
                </a:cubicBezTo>
                <a:cubicBezTo>
                  <a:pt x="65734" y="41770"/>
                  <a:pt x="67901" y="47895"/>
                  <a:pt x="67901" y="54020"/>
                </a:cubicBezTo>
                <a:lnTo>
                  <a:pt x="67901" y="81042"/>
                </a:lnTo>
                <a:cubicBezTo>
                  <a:pt x="67901" y="83924"/>
                  <a:pt x="65734" y="85365"/>
                  <a:pt x="63566" y="85365"/>
                </a:cubicBezTo>
                <a:lnTo>
                  <a:pt x="4695" y="85365"/>
                </a:lnTo>
                <a:cubicBezTo>
                  <a:pt x="2528" y="85365"/>
                  <a:pt x="0" y="83924"/>
                  <a:pt x="0" y="81042"/>
                </a:cubicBezTo>
                <a:lnTo>
                  <a:pt x="0" y="54020"/>
                </a:lnTo>
                <a:cubicBezTo>
                  <a:pt x="0" y="47895"/>
                  <a:pt x="2528" y="41770"/>
                  <a:pt x="6140" y="37447"/>
                </a:cubicBezTo>
                <a:cubicBezTo>
                  <a:pt x="7946" y="35285"/>
                  <a:pt x="10835" y="34925"/>
                  <a:pt x="12280" y="36366"/>
                </a:cubicBezTo>
                <a:close/>
                <a:moveTo>
                  <a:pt x="256816" y="8902"/>
                </a:moveTo>
                <a:cubicBezTo>
                  <a:pt x="251065" y="8902"/>
                  <a:pt x="246752" y="13175"/>
                  <a:pt x="246752" y="18872"/>
                </a:cubicBezTo>
                <a:cubicBezTo>
                  <a:pt x="246752" y="24569"/>
                  <a:pt x="251065" y="29198"/>
                  <a:pt x="256816" y="29198"/>
                </a:cubicBezTo>
                <a:cubicBezTo>
                  <a:pt x="262926" y="29198"/>
                  <a:pt x="267599" y="24569"/>
                  <a:pt x="267599" y="18872"/>
                </a:cubicBezTo>
                <a:cubicBezTo>
                  <a:pt x="267599" y="13175"/>
                  <a:pt x="262926" y="8902"/>
                  <a:pt x="256816" y="8902"/>
                </a:cubicBezTo>
                <a:close/>
                <a:moveTo>
                  <a:pt x="34565" y="8902"/>
                </a:moveTo>
                <a:cubicBezTo>
                  <a:pt x="29174" y="8902"/>
                  <a:pt x="24501" y="13175"/>
                  <a:pt x="24501" y="18872"/>
                </a:cubicBezTo>
                <a:cubicBezTo>
                  <a:pt x="24501" y="24569"/>
                  <a:pt x="29174" y="29198"/>
                  <a:pt x="34565" y="29198"/>
                </a:cubicBezTo>
                <a:cubicBezTo>
                  <a:pt x="40316" y="29198"/>
                  <a:pt x="44629" y="24569"/>
                  <a:pt x="44629" y="18872"/>
                </a:cubicBezTo>
                <a:cubicBezTo>
                  <a:pt x="44629" y="13175"/>
                  <a:pt x="40316" y="8902"/>
                  <a:pt x="34565" y="8902"/>
                </a:cubicBezTo>
                <a:close/>
                <a:moveTo>
                  <a:pt x="256816" y="0"/>
                </a:moveTo>
                <a:cubicBezTo>
                  <a:pt x="267599" y="0"/>
                  <a:pt x="275866" y="8189"/>
                  <a:pt x="275866" y="18872"/>
                </a:cubicBezTo>
                <a:cubicBezTo>
                  <a:pt x="275866" y="29198"/>
                  <a:pt x="267599" y="37744"/>
                  <a:pt x="256816" y="37744"/>
                </a:cubicBezTo>
                <a:cubicBezTo>
                  <a:pt x="246752" y="37744"/>
                  <a:pt x="238125" y="29198"/>
                  <a:pt x="238125" y="18872"/>
                </a:cubicBezTo>
                <a:cubicBezTo>
                  <a:pt x="238125" y="8189"/>
                  <a:pt x="246752" y="0"/>
                  <a:pt x="256816" y="0"/>
                </a:cubicBezTo>
                <a:close/>
                <a:moveTo>
                  <a:pt x="34565" y="0"/>
                </a:moveTo>
                <a:cubicBezTo>
                  <a:pt x="45348" y="0"/>
                  <a:pt x="53615" y="8189"/>
                  <a:pt x="53615" y="18872"/>
                </a:cubicBezTo>
                <a:cubicBezTo>
                  <a:pt x="53615" y="29198"/>
                  <a:pt x="45348" y="37744"/>
                  <a:pt x="34565" y="37744"/>
                </a:cubicBezTo>
                <a:cubicBezTo>
                  <a:pt x="24142" y="37744"/>
                  <a:pt x="15875" y="29198"/>
                  <a:pt x="15875" y="18872"/>
                </a:cubicBezTo>
                <a:cubicBezTo>
                  <a:pt x="15875" y="8189"/>
                  <a:pt x="24142" y="0"/>
                  <a:pt x="345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2" name="Freeform 1021">
            <a:extLst>
              <a:ext uri="{FF2B5EF4-FFF2-40B4-BE49-F238E27FC236}">
                <a16:creationId xmlns:a16="http://schemas.microsoft.com/office/drawing/2014/main" id="{5718FFF6-E1E5-0F4C-B677-FF958BD52D7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13195" y="841755"/>
            <a:ext cx="526257" cy="527050"/>
          </a:xfrm>
          <a:custGeom>
            <a:avLst/>
            <a:gdLst>
              <a:gd name="T0" fmla="*/ 69401580 w 290150"/>
              <a:gd name="T1" fmla="*/ 121905821 h 290152"/>
              <a:gd name="T2" fmla="*/ 101735209 w 290150"/>
              <a:gd name="T3" fmla="*/ 104566787 h 290152"/>
              <a:gd name="T4" fmla="*/ 122048015 w 290150"/>
              <a:gd name="T5" fmla="*/ 121907862 h 290152"/>
              <a:gd name="T6" fmla="*/ 123308159 w 290150"/>
              <a:gd name="T7" fmla="*/ 104878861 h 290152"/>
              <a:gd name="T8" fmla="*/ 98428740 w 290150"/>
              <a:gd name="T9" fmla="*/ 125812788 h 290152"/>
              <a:gd name="T10" fmla="*/ 101735209 w 290150"/>
              <a:gd name="T11" fmla="*/ 104566787 h 290152"/>
              <a:gd name="T12" fmla="*/ 3711393 w 290150"/>
              <a:gd name="T13" fmla="*/ 121907862 h 290152"/>
              <a:gd name="T14" fmla="*/ 23657262 w 290150"/>
              <a:gd name="T15" fmla="*/ 104566787 h 290152"/>
              <a:gd name="T16" fmla="*/ 26904877 w 290150"/>
              <a:gd name="T17" fmla="*/ 125812788 h 290152"/>
              <a:gd name="T18" fmla="*/ 2629532 w 290150"/>
              <a:gd name="T19" fmla="*/ 104878861 h 290152"/>
              <a:gd name="T20" fmla="*/ 80814075 w 290150"/>
              <a:gd name="T21" fmla="*/ 110495926 h 290152"/>
              <a:gd name="T22" fmla="*/ 106318684 w 290150"/>
              <a:gd name="T23" fmla="*/ 97058230 h 290152"/>
              <a:gd name="T24" fmla="*/ 14300614 w 290150"/>
              <a:gd name="T25" fmla="*/ 92538574 h 290152"/>
              <a:gd name="T26" fmla="*/ 14300614 w 290150"/>
              <a:gd name="T27" fmla="*/ 92538574 h 290152"/>
              <a:gd name="T28" fmla="*/ 102577386 w 290150"/>
              <a:gd name="T29" fmla="*/ 97058230 h 290152"/>
              <a:gd name="T30" fmla="*/ 14300614 w 290150"/>
              <a:gd name="T31" fmla="*/ 105162994 h 290152"/>
              <a:gd name="T32" fmla="*/ 57207559 w 290150"/>
              <a:gd name="T33" fmla="*/ 99086212 h 290152"/>
              <a:gd name="T34" fmla="*/ 76124319 w 290150"/>
              <a:gd name="T35" fmla="*/ 71108083 h 290152"/>
              <a:gd name="T36" fmla="*/ 80032537 w 290150"/>
              <a:gd name="T37" fmla="*/ 74859260 h 290152"/>
              <a:gd name="T38" fmla="*/ 49547474 w 290150"/>
              <a:gd name="T39" fmla="*/ 78766754 h 290152"/>
              <a:gd name="T40" fmla="*/ 7803059 w 290150"/>
              <a:gd name="T41" fmla="*/ 43366069 h 290152"/>
              <a:gd name="T42" fmla="*/ 8874038 w 290150"/>
              <a:gd name="T43" fmla="*/ 85731906 h 290152"/>
              <a:gd name="T44" fmla="*/ 0 w 290150"/>
              <a:gd name="T45" fmla="*/ 51338760 h 290152"/>
              <a:gd name="T46" fmla="*/ 121572332 w 290150"/>
              <a:gd name="T47" fmla="*/ 75808223 h 290152"/>
              <a:gd name="T48" fmla="*/ 117848892 w 290150"/>
              <a:gd name="T49" fmla="*/ 74564562 h 290152"/>
              <a:gd name="T50" fmla="*/ 87807546 w 290150"/>
              <a:gd name="T51" fmla="*/ 58917106 h 290152"/>
              <a:gd name="T52" fmla="*/ 62460013 w 290150"/>
              <a:gd name="T53" fmla="*/ 41082802 h 290152"/>
              <a:gd name="T54" fmla="*/ 29224563 w 290150"/>
              <a:gd name="T55" fmla="*/ 62824121 h 290152"/>
              <a:gd name="T56" fmla="*/ 53456051 w 290150"/>
              <a:gd name="T57" fmla="*/ 82518084 h 290152"/>
              <a:gd name="T58" fmla="*/ 57207559 w 290150"/>
              <a:gd name="T59" fmla="*/ 74859260 h 290152"/>
              <a:gd name="T60" fmla="*/ 76124319 w 290150"/>
              <a:gd name="T61" fmla="*/ 67356844 h 290152"/>
              <a:gd name="T62" fmla="*/ 72372353 w 290150"/>
              <a:gd name="T63" fmla="*/ 99086212 h 290152"/>
              <a:gd name="T64" fmla="*/ 62835889 w 290150"/>
              <a:gd name="T65" fmla="*/ 29220374 h 290152"/>
              <a:gd name="T66" fmla="*/ 84722256 w 290150"/>
              <a:gd name="T67" fmla="*/ 101430210 h 290152"/>
              <a:gd name="T68" fmla="*/ 78938244 w 290150"/>
              <a:gd name="T69" fmla="*/ 116279211 h 290152"/>
              <a:gd name="T70" fmla="*/ 47203090 w 290150"/>
              <a:gd name="T71" fmla="*/ 114246758 h 290152"/>
              <a:gd name="T72" fmla="*/ 36415736 w 290150"/>
              <a:gd name="T73" fmla="*/ 89238866 h 290152"/>
              <a:gd name="T74" fmla="*/ 102050172 w 290150"/>
              <a:gd name="T75" fmla="*/ 18424697 h 290152"/>
              <a:gd name="T76" fmla="*/ 122048015 w 290150"/>
              <a:gd name="T77" fmla="*/ 23268009 h 290152"/>
              <a:gd name="T78" fmla="*/ 125826538 w 290150"/>
              <a:gd name="T79" fmla="*/ 23268009 h 290152"/>
              <a:gd name="T80" fmla="*/ 96381088 w 290150"/>
              <a:gd name="T81" fmla="*/ 35140894 h 290152"/>
              <a:gd name="T82" fmla="*/ 5103055 w 290150"/>
              <a:gd name="T83" fmla="*/ 15925338 h 290152"/>
              <a:gd name="T84" fmla="*/ 25048641 w 290150"/>
              <a:gd name="T85" fmla="*/ 33265548 h 290152"/>
              <a:gd name="T86" fmla="*/ 26285795 w 290150"/>
              <a:gd name="T87" fmla="*/ 16080347 h 290152"/>
              <a:gd name="T88" fmla="*/ 1854307 w 290150"/>
              <a:gd name="T89" fmla="*/ 37015182 h 290152"/>
              <a:gd name="T90" fmla="*/ 5103055 w 290150"/>
              <a:gd name="T91" fmla="*/ 15925338 h 290152"/>
              <a:gd name="T92" fmla="*/ 115203078 w 290150"/>
              <a:gd name="T93" fmla="*/ 8183128 h 290152"/>
              <a:gd name="T94" fmla="*/ 14300614 w 290150"/>
              <a:gd name="T95" fmla="*/ 12660410 h 290152"/>
              <a:gd name="T96" fmla="*/ 85475857 w 290150"/>
              <a:gd name="T97" fmla="*/ 7107584 h 290152"/>
              <a:gd name="T98" fmla="*/ 83908002 w 290150"/>
              <a:gd name="T99" fmla="*/ 10353978 h 290152"/>
              <a:gd name="T100" fmla="*/ 31389377 w 290150"/>
              <a:gd name="T101" fmla="*/ 11435744 h 290152"/>
              <a:gd name="T102" fmla="*/ 110839091 w 290150"/>
              <a:gd name="T103" fmla="*/ 16366151 h 290152"/>
              <a:gd name="T104" fmla="*/ 22561810 w 290150"/>
              <a:gd name="T105" fmla="*/ 8183128 h 29015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90150" h="290152">
                <a:moveTo>
                  <a:pt x="117499" y="263478"/>
                </a:moveTo>
                <a:lnTo>
                  <a:pt x="117499" y="268164"/>
                </a:lnTo>
                <a:cubicBezTo>
                  <a:pt x="117499" y="275373"/>
                  <a:pt x="123627" y="281140"/>
                  <a:pt x="130837" y="281140"/>
                </a:cubicBezTo>
                <a:lnTo>
                  <a:pt x="160037" y="281140"/>
                </a:lnTo>
                <a:cubicBezTo>
                  <a:pt x="167247" y="281140"/>
                  <a:pt x="173015" y="275373"/>
                  <a:pt x="173015" y="268164"/>
                </a:cubicBezTo>
                <a:lnTo>
                  <a:pt x="173015" y="263478"/>
                </a:lnTo>
                <a:lnTo>
                  <a:pt x="117499" y="263478"/>
                </a:lnTo>
                <a:close/>
                <a:moveTo>
                  <a:pt x="234596" y="241153"/>
                </a:moveTo>
                <a:cubicBezTo>
                  <a:pt x="236774" y="242955"/>
                  <a:pt x="236774" y="245477"/>
                  <a:pt x="235322" y="247278"/>
                </a:cubicBezTo>
                <a:cubicBezTo>
                  <a:pt x="232417" y="250521"/>
                  <a:pt x="231328" y="254124"/>
                  <a:pt x="231328" y="258447"/>
                </a:cubicBezTo>
                <a:lnTo>
                  <a:pt x="231328" y="281145"/>
                </a:lnTo>
                <a:lnTo>
                  <a:pt x="281436" y="281145"/>
                </a:lnTo>
                <a:lnTo>
                  <a:pt x="281436" y="258447"/>
                </a:lnTo>
                <a:cubicBezTo>
                  <a:pt x="281436" y="254124"/>
                  <a:pt x="279983" y="250521"/>
                  <a:pt x="277442" y="247278"/>
                </a:cubicBezTo>
                <a:cubicBezTo>
                  <a:pt x="275626" y="245477"/>
                  <a:pt x="275989" y="242955"/>
                  <a:pt x="278168" y="241153"/>
                </a:cubicBezTo>
                <a:cubicBezTo>
                  <a:pt x="279983" y="239712"/>
                  <a:pt x="282525" y="239712"/>
                  <a:pt x="284341" y="241874"/>
                </a:cubicBezTo>
                <a:cubicBezTo>
                  <a:pt x="287972" y="246558"/>
                  <a:pt x="290150" y="252322"/>
                  <a:pt x="290150" y="258447"/>
                </a:cubicBezTo>
                <a:lnTo>
                  <a:pt x="290150" y="285829"/>
                </a:lnTo>
                <a:cubicBezTo>
                  <a:pt x="290150" y="287990"/>
                  <a:pt x="288335" y="290152"/>
                  <a:pt x="285793" y="290152"/>
                </a:cubicBezTo>
                <a:lnTo>
                  <a:pt x="226971" y="290152"/>
                </a:lnTo>
                <a:cubicBezTo>
                  <a:pt x="224429" y="290152"/>
                  <a:pt x="222250" y="287990"/>
                  <a:pt x="222250" y="285829"/>
                </a:cubicBezTo>
                <a:lnTo>
                  <a:pt x="222250" y="258447"/>
                </a:lnTo>
                <a:cubicBezTo>
                  <a:pt x="222250" y="252322"/>
                  <a:pt x="224429" y="246558"/>
                  <a:pt x="228423" y="241874"/>
                </a:cubicBezTo>
                <a:cubicBezTo>
                  <a:pt x="229875" y="239712"/>
                  <a:pt x="232780" y="239712"/>
                  <a:pt x="234596" y="241153"/>
                </a:cubicBezTo>
                <a:close/>
                <a:moveTo>
                  <a:pt x="11766" y="241153"/>
                </a:moveTo>
                <a:cubicBezTo>
                  <a:pt x="13905" y="242955"/>
                  <a:pt x="14262" y="245477"/>
                  <a:pt x="12479" y="247278"/>
                </a:cubicBezTo>
                <a:cubicBezTo>
                  <a:pt x="9983" y="250521"/>
                  <a:pt x="8557" y="254124"/>
                  <a:pt x="8557" y="258447"/>
                </a:cubicBezTo>
                <a:lnTo>
                  <a:pt x="8557" y="281145"/>
                </a:lnTo>
                <a:lnTo>
                  <a:pt x="57761" y="281145"/>
                </a:lnTo>
                <a:lnTo>
                  <a:pt x="57761" y="258447"/>
                </a:lnTo>
                <a:cubicBezTo>
                  <a:pt x="57761" y="254124"/>
                  <a:pt x="56335" y="250521"/>
                  <a:pt x="53839" y="247278"/>
                </a:cubicBezTo>
                <a:cubicBezTo>
                  <a:pt x="52413" y="245477"/>
                  <a:pt x="52413" y="242955"/>
                  <a:pt x="54552" y="241153"/>
                </a:cubicBezTo>
                <a:cubicBezTo>
                  <a:pt x="56335" y="239712"/>
                  <a:pt x="59188" y="239712"/>
                  <a:pt x="60614" y="241874"/>
                </a:cubicBezTo>
                <a:cubicBezTo>
                  <a:pt x="64179" y="246558"/>
                  <a:pt x="66319" y="252322"/>
                  <a:pt x="66319" y="258447"/>
                </a:cubicBezTo>
                <a:lnTo>
                  <a:pt x="66319" y="285829"/>
                </a:lnTo>
                <a:cubicBezTo>
                  <a:pt x="66319" y="287990"/>
                  <a:pt x="64536" y="290152"/>
                  <a:pt x="62040" y="290152"/>
                </a:cubicBezTo>
                <a:lnTo>
                  <a:pt x="4278" y="290152"/>
                </a:lnTo>
                <a:cubicBezTo>
                  <a:pt x="1783" y="290152"/>
                  <a:pt x="0" y="287990"/>
                  <a:pt x="0" y="285829"/>
                </a:cubicBezTo>
                <a:lnTo>
                  <a:pt x="0" y="258447"/>
                </a:lnTo>
                <a:cubicBezTo>
                  <a:pt x="0" y="252322"/>
                  <a:pt x="2139" y="246558"/>
                  <a:pt x="6061" y="241874"/>
                </a:cubicBezTo>
                <a:cubicBezTo>
                  <a:pt x="7487" y="239712"/>
                  <a:pt x="9983" y="239712"/>
                  <a:pt x="11766" y="241153"/>
                </a:cubicBezTo>
                <a:close/>
                <a:moveTo>
                  <a:pt x="104160" y="237525"/>
                </a:moveTo>
                <a:lnTo>
                  <a:pt x="104160" y="254827"/>
                </a:lnTo>
                <a:lnTo>
                  <a:pt x="186353" y="254827"/>
                </a:lnTo>
                <a:lnTo>
                  <a:pt x="186353" y="237525"/>
                </a:lnTo>
                <a:lnTo>
                  <a:pt x="104160" y="237525"/>
                </a:lnTo>
                <a:close/>
                <a:moveTo>
                  <a:pt x="255588" y="213414"/>
                </a:moveTo>
                <a:cubicBezTo>
                  <a:pt x="249837" y="213414"/>
                  <a:pt x="245165" y="218086"/>
                  <a:pt x="245165" y="223837"/>
                </a:cubicBezTo>
                <a:cubicBezTo>
                  <a:pt x="245165" y="229229"/>
                  <a:pt x="249837" y="233901"/>
                  <a:pt x="255588" y="233901"/>
                </a:cubicBezTo>
                <a:cubicBezTo>
                  <a:pt x="260980" y="233901"/>
                  <a:pt x="265652" y="229229"/>
                  <a:pt x="265652" y="223837"/>
                </a:cubicBezTo>
                <a:cubicBezTo>
                  <a:pt x="265652" y="218086"/>
                  <a:pt x="260980" y="213414"/>
                  <a:pt x="255588" y="213414"/>
                </a:cubicBezTo>
                <a:close/>
                <a:moveTo>
                  <a:pt x="32978" y="213414"/>
                </a:moveTo>
                <a:cubicBezTo>
                  <a:pt x="27587" y="213414"/>
                  <a:pt x="22914" y="218086"/>
                  <a:pt x="22914" y="223837"/>
                </a:cubicBezTo>
                <a:cubicBezTo>
                  <a:pt x="22914" y="229229"/>
                  <a:pt x="27587" y="233901"/>
                  <a:pt x="32978" y="233901"/>
                </a:cubicBezTo>
                <a:cubicBezTo>
                  <a:pt x="38729" y="233901"/>
                  <a:pt x="43402" y="229229"/>
                  <a:pt x="43402" y="223837"/>
                </a:cubicBezTo>
                <a:cubicBezTo>
                  <a:pt x="43402" y="218086"/>
                  <a:pt x="38729" y="213414"/>
                  <a:pt x="32978" y="213414"/>
                </a:cubicBezTo>
                <a:close/>
                <a:moveTo>
                  <a:pt x="255588" y="204787"/>
                </a:moveTo>
                <a:cubicBezTo>
                  <a:pt x="266012" y="204787"/>
                  <a:pt x="274279" y="213414"/>
                  <a:pt x="274279" y="223837"/>
                </a:cubicBezTo>
                <a:cubicBezTo>
                  <a:pt x="274279" y="234261"/>
                  <a:pt x="266012" y="242528"/>
                  <a:pt x="255588" y="242528"/>
                </a:cubicBezTo>
                <a:cubicBezTo>
                  <a:pt x="245165" y="242528"/>
                  <a:pt x="236538" y="234261"/>
                  <a:pt x="236538" y="223837"/>
                </a:cubicBezTo>
                <a:cubicBezTo>
                  <a:pt x="236538" y="213414"/>
                  <a:pt x="245165" y="204787"/>
                  <a:pt x="255588" y="204787"/>
                </a:cubicBezTo>
                <a:close/>
                <a:moveTo>
                  <a:pt x="32978" y="204787"/>
                </a:moveTo>
                <a:cubicBezTo>
                  <a:pt x="43402" y="204787"/>
                  <a:pt x="52028" y="213414"/>
                  <a:pt x="52028" y="223837"/>
                </a:cubicBezTo>
                <a:cubicBezTo>
                  <a:pt x="52028" y="234261"/>
                  <a:pt x="43402" y="242528"/>
                  <a:pt x="32978" y="242528"/>
                </a:cubicBezTo>
                <a:cubicBezTo>
                  <a:pt x="22555" y="242528"/>
                  <a:pt x="14288" y="234261"/>
                  <a:pt x="14288" y="223837"/>
                </a:cubicBezTo>
                <a:cubicBezTo>
                  <a:pt x="14288" y="213414"/>
                  <a:pt x="22555" y="204787"/>
                  <a:pt x="32978" y="204787"/>
                </a:cubicBezTo>
                <a:close/>
                <a:moveTo>
                  <a:pt x="131918" y="190305"/>
                </a:moveTo>
                <a:lnTo>
                  <a:pt x="131918" y="228513"/>
                </a:lnTo>
                <a:lnTo>
                  <a:pt x="158235" y="228513"/>
                </a:lnTo>
                <a:lnTo>
                  <a:pt x="158235" y="190305"/>
                </a:lnTo>
                <a:lnTo>
                  <a:pt x="131918" y="190305"/>
                </a:lnTo>
                <a:close/>
                <a:moveTo>
                  <a:pt x="175538" y="163991"/>
                </a:moveTo>
                <a:cubicBezTo>
                  <a:pt x="171212" y="163991"/>
                  <a:pt x="166886" y="168317"/>
                  <a:pt x="166886" y="172642"/>
                </a:cubicBezTo>
                <a:lnTo>
                  <a:pt x="166886" y="181654"/>
                </a:lnTo>
                <a:lnTo>
                  <a:pt x="175538" y="181654"/>
                </a:lnTo>
                <a:cubicBezTo>
                  <a:pt x="180585" y="181654"/>
                  <a:pt x="184551" y="177689"/>
                  <a:pt x="184551" y="172642"/>
                </a:cubicBezTo>
                <a:cubicBezTo>
                  <a:pt x="184551" y="168317"/>
                  <a:pt x="180585" y="163991"/>
                  <a:pt x="175538" y="163991"/>
                </a:cubicBezTo>
                <a:close/>
                <a:moveTo>
                  <a:pt x="114254" y="163991"/>
                </a:moveTo>
                <a:cubicBezTo>
                  <a:pt x="109568" y="163991"/>
                  <a:pt x="105602" y="168317"/>
                  <a:pt x="105602" y="172642"/>
                </a:cubicBezTo>
                <a:cubicBezTo>
                  <a:pt x="105602" y="177689"/>
                  <a:pt x="109568" y="181654"/>
                  <a:pt x="114254" y="181654"/>
                </a:cubicBezTo>
                <a:lnTo>
                  <a:pt x="123267" y="181654"/>
                </a:lnTo>
                <a:lnTo>
                  <a:pt x="123267" y="172642"/>
                </a:lnTo>
                <a:cubicBezTo>
                  <a:pt x="123267" y="168317"/>
                  <a:pt x="119301" y="163991"/>
                  <a:pt x="114254" y="163991"/>
                </a:cubicBezTo>
                <a:close/>
                <a:moveTo>
                  <a:pt x="17991" y="100012"/>
                </a:moveTo>
                <a:lnTo>
                  <a:pt x="25047" y="125249"/>
                </a:lnTo>
                <a:lnTo>
                  <a:pt x="16580" y="123086"/>
                </a:lnTo>
                <a:cubicBezTo>
                  <a:pt x="12700" y="146160"/>
                  <a:pt x="14816" y="169955"/>
                  <a:pt x="22930" y="191948"/>
                </a:cubicBezTo>
                <a:cubicBezTo>
                  <a:pt x="23636" y="194471"/>
                  <a:pt x="22578" y="196995"/>
                  <a:pt x="20461" y="197716"/>
                </a:cubicBezTo>
                <a:cubicBezTo>
                  <a:pt x="19755" y="198077"/>
                  <a:pt x="19403" y="198077"/>
                  <a:pt x="18697" y="198077"/>
                </a:cubicBezTo>
                <a:cubicBezTo>
                  <a:pt x="17286" y="198077"/>
                  <a:pt x="15522" y="196995"/>
                  <a:pt x="14816" y="195192"/>
                </a:cubicBezTo>
                <a:cubicBezTo>
                  <a:pt x="5997" y="171397"/>
                  <a:pt x="3880" y="145800"/>
                  <a:pt x="8114" y="120923"/>
                </a:cubicBezTo>
                <a:lnTo>
                  <a:pt x="0" y="118399"/>
                </a:lnTo>
                <a:lnTo>
                  <a:pt x="17991" y="100012"/>
                </a:lnTo>
                <a:close/>
                <a:moveTo>
                  <a:pt x="270322" y="95609"/>
                </a:moveTo>
                <a:cubicBezTo>
                  <a:pt x="272469" y="95250"/>
                  <a:pt x="274615" y="95967"/>
                  <a:pt x="275689" y="98476"/>
                </a:cubicBezTo>
                <a:cubicBezTo>
                  <a:pt x="284275" y="123211"/>
                  <a:pt x="285706" y="149020"/>
                  <a:pt x="280339" y="174830"/>
                </a:cubicBezTo>
                <a:lnTo>
                  <a:pt x="288568" y="176980"/>
                </a:lnTo>
                <a:lnTo>
                  <a:pt x="269249" y="194904"/>
                </a:lnTo>
                <a:lnTo>
                  <a:pt x="263525" y="169453"/>
                </a:lnTo>
                <a:lnTo>
                  <a:pt x="271753" y="171962"/>
                </a:lnTo>
                <a:cubicBezTo>
                  <a:pt x="276762" y="148662"/>
                  <a:pt x="275331" y="124286"/>
                  <a:pt x="267460" y="101344"/>
                </a:cubicBezTo>
                <a:cubicBezTo>
                  <a:pt x="266745" y="99193"/>
                  <a:pt x="267818" y="96326"/>
                  <a:pt x="270322" y="95609"/>
                </a:cubicBezTo>
                <a:close/>
                <a:moveTo>
                  <a:pt x="144030" y="85725"/>
                </a:moveTo>
                <a:cubicBezTo>
                  <a:pt x="173615" y="85725"/>
                  <a:pt x="197788" y="107012"/>
                  <a:pt x="202479" y="135875"/>
                </a:cubicBezTo>
                <a:cubicBezTo>
                  <a:pt x="202839" y="138401"/>
                  <a:pt x="201396" y="140205"/>
                  <a:pt x="198871" y="140926"/>
                </a:cubicBezTo>
                <a:cubicBezTo>
                  <a:pt x="198510" y="140926"/>
                  <a:pt x="198149" y="140926"/>
                  <a:pt x="198149" y="140926"/>
                </a:cubicBezTo>
                <a:cubicBezTo>
                  <a:pt x="195984" y="140926"/>
                  <a:pt x="194180" y="139483"/>
                  <a:pt x="193820" y="137319"/>
                </a:cubicBezTo>
                <a:cubicBezTo>
                  <a:pt x="190212" y="112785"/>
                  <a:pt x="168925" y="94745"/>
                  <a:pt x="144030" y="94745"/>
                </a:cubicBezTo>
                <a:cubicBezTo>
                  <a:pt x="141865" y="94745"/>
                  <a:pt x="139700" y="92580"/>
                  <a:pt x="139700" y="90416"/>
                </a:cubicBezTo>
                <a:cubicBezTo>
                  <a:pt x="139700" y="87890"/>
                  <a:pt x="141865" y="85725"/>
                  <a:pt x="144030" y="85725"/>
                </a:cubicBezTo>
                <a:close/>
                <a:moveTo>
                  <a:pt x="144896" y="67388"/>
                </a:moveTo>
                <a:cubicBezTo>
                  <a:pt x="102358" y="67388"/>
                  <a:pt x="67390" y="102353"/>
                  <a:pt x="67390" y="144887"/>
                </a:cubicBezTo>
                <a:cubicBezTo>
                  <a:pt x="67390" y="165433"/>
                  <a:pt x="75681" y="184898"/>
                  <a:pt x="89741" y="199677"/>
                </a:cubicBezTo>
                <a:cubicBezTo>
                  <a:pt x="97672" y="207607"/>
                  <a:pt x="102718" y="217700"/>
                  <a:pt x="103800" y="228513"/>
                </a:cubicBezTo>
                <a:lnTo>
                  <a:pt x="123267" y="228513"/>
                </a:lnTo>
                <a:lnTo>
                  <a:pt x="123267" y="190305"/>
                </a:lnTo>
                <a:lnTo>
                  <a:pt x="114254" y="190305"/>
                </a:lnTo>
                <a:cubicBezTo>
                  <a:pt x="104881" y="190305"/>
                  <a:pt x="96590" y="182375"/>
                  <a:pt x="96590" y="172642"/>
                </a:cubicBezTo>
                <a:cubicBezTo>
                  <a:pt x="96590" y="163270"/>
                  <a:pt x="104881" y="155340"/>
                  <a:pt x="114254" y="155340"/>
                </a:cubicBezTo>
                <a:cubicBezTo>
                  <a:pt x="123988" y="155340"/>
                  <a:pt x="131918" y="163270"/>
                  <a:pt x="131918" y="172642"/>
                </a:cubicBezTo>
                <a:lnTo>
                  <a:pt x="131918" y="181654"/>
                </a:lnTo>
                <a:lnTo>
                  <a:pt x="158235" y="181654"/>
                </a:lnTo>
                <a:lnTo>
                  <a:pt x="158235" y="172642"/>
                </a:lnTo>
                <a:cubicBezTo>
                  <a:pt x="158235" y="163270"/>
                  <a:pt x="166165" y="155340"/>
                  <a:pt x="175538" y="155340"/>
                </a:cubicBezTo>
                <a:cubicBezTo>
                  <a:pt x="185272" y="155340"/>
                  <a:pt x="193202" y="163270"/>
                  <a:pt x="193202" y="172642"/>
                </a:cubicBezTo>
                <a:cubicBezTo>
                  <a:pt x="193202" y="182375"/>
                  <a:pt x="185272" y="190305"/>
                  <a:pt x="175538" y="190305"/>
                </a:cubicBezTo>
                <a:lnTo>
                  <a:pt x="166886" y="190305"/>
                </a:lnTo>
                <a:lnTo>
                  <a:pt x="166886" y="228513"/>
                </a:lnTo>
                <a:lnTo>
                  <a:pt x="187074" y="228513"/>
                </a:lnTo>
                <a:cubicBezTo>
                  <a:pt x="187795" y="217339"/>
                  <a:pt x="192842" y="207246"/>
                  <a:pt x="200412" y="199316"/>
                </a:cubicBezTo>
                <a:cubicBezTo>
                  <a:pt x="214832" y="184537"/>
                  <a:pt x="222402" y="165433"/>
                  <a:pt x="222402" y="144887"/>
                </a:cubicBezTo>
                <a:cubicBezTo>
                  <a:pt x="222402" y="102353"/>
                  <a:pt x="187795" y="67388"/>
                  <a:pt x="144896" y="67388"/>
                </a:cubicBezTo>
                <a:close/>
                <a:moveTo>
                  <a:pt x="144896" y="58737"/>
                </a:moveTo>
                <a:cubicBezTo>
                  <a:pt x="192481" y="58737"/>
                  <a:pt x="231415" y="97306"/>
                  <a:pt x="231415" y="144887"/>
                </a:cubicBezTo>
                <a:cubicBezTo>
                  <a:pt x="231415" y="167596"/>
                  <a:pt x="222763" y="189223"/>
                  <a:pt x="206901" y="205444"/>
                </a:cubicBezTo>
                <a:cubicBezTo>
                  <a:pt x="199331" y="213014"/>
                  <a:pt x="195365" y="223106"/>
                  <a:pt x="195365" y="233920"/>
                </a:cubicBezTo>
                <a:lnTo>
                  <a:pt x="195365" y="254827"/>
                </a:lnTo>
                <a:cubicBezTo>
                  <a:pt x="195365" y="259513"/>
                  <a:pt x="191400" y="263478"/>
                  <a:pt x="186353" y="263478"/>
                </a:cubicBezTo>
                <a:lnTo>
                  <a:pt x="182027" y="263478"/>
                </a:lnTo>
                <a:lnTo>
                  <a:pt x="182027" y="268164"/>
                </a:lnTo>
                <a:cubicBezTo>
                  <a:pt x="182027" y="280059"/>
                  <a:pt x="171933" y="290152"/>
                  <a:pt x="160037" y="290152"/>
                </a:cubicBezTo>
                <a:lnTo>
                  <a:pt x="130837" y="290152"/>
                </a:lnTo>
                <a:cubicBezTo>
                  <a:pt x="118580" y="290152"/>
                  <a:pt x="108847" y="280059"/>
                  <a:pt x="108847" y="268164"/>
                </a:cubicBezTo>
                <a:lnTo>
                  <a:pt x="108847" y="263478"/>
                </a:lnTo>
                <a:lnTo>
                  <a:pt x="104521" y="263478"/>
                </a:lnTo>
                <a:cubicBezTo>
                  <a:pt x="99474" y="263478"/>
                  <a:pt x="95509" y="259513"/>
                  <a:pt x="95509" y="254827"/>
                </a:cubicBezTo>
                <a:lnTo>
                  <a:pt x="95509" y="234641"/>
                </a:lnTo>
                <a:cubicBezTo>
                  <a:pt x="95509" y="223467"/>
                  <a:pt x="91543" y="213374"/>
                  <a:pt x="83973" y="205804"/>
                </a:cubicBezTo>
                <a:cubicBezTo>
                  <a:pt x="67751" y="189584"/>
                  <a:pt x="58738" y="167956"/>
                  <a:pt x="58738" y="144887"/>
                </a:cubicBezTo>
                <a:cubicBezTo>
                  <a:pt x="58738" y="97306"/>
                  <a:pt x="97672" y="58737"/>
                  <a:pt x="144896" y="58737"/>
                </a:cubicBezTo>
                <a:close/>
                <a:moveTo>
                  <a:pt x="234596" y="36726"/>
                </a:moveTo>
                <a:cubicBezTo>
                  <a:pt x="236774" y="38167"/>
                  <a:pt x="236774" y="40689"/>
                  <a:pt x="235322" y="42491"/>
                </a:cubicBezTo>
                <a:cubicBezTo>
                  <a:pt x="232417" y="45733"/>
                  <a:pt x="231328" y="49696"/>
                  <a:pt x="231328" y="53660"/>
                </a:cubicBezTo>
                <a:lnTo>
                  <a:pt x="231328" y="76718"/>
                </a:lnTo>
                <a:lnTo>
                  <a:pt x="281436" y="76718"/>
                </a:lnTo>
                <a:lnTo>
                  <a:pt x="281436" y="53660"/>
                </a:lnTo>
                <a:cubicBezTo>
                  <a:pt x="281436" y="49696"/>
                  <a:pt x="279983" y="45733"/>
                  <a:pt x="277442" y="42491"/>
                </a:cubicBezTo>
                <a:cubicBezTo>
                  <a:pt x="275626" y="40689"/>
                  <a:pt x="275989" y="38167"/>
                  <a:pt x="278168" y="36726"/>
                </a:cubicBezTo>
                <a:cubicBezTo>
                  <a:pt x="279983" y="34925"/>
                  <a:pt x="282525" y="35285"/>
                  <a:pt x="284341" y="37086"/>
                </a:cubicBezTo>
                <a:cubicBezTo>
                  <a:pt x="287972" y="41770"/>
                  <a:pt x="290150" y="47895"/>
                  <a:pt x="290150" y="53660"/>
                </a:cubicBezTo>
                <a:lnTo>
                  <a:pt x="290150" y="81042"/>
                </a:lnTo>
                <a:cubicBezTo>
                  <a:pt x="290150" y="83203"/>
                  <a:pt x="288335" y="85365"/>
                  <a:pt x="285793" y="85365"/>
                </a:cubicBezTo>
                <a:lnTo>
                  <a:pt x="226971" y="85365"/>
                </a:lnTo>
                <a:cubicBezTo>
                  <a:pt x="224429" y="85365"/>
                  <a:pt x="222250" y="83203"/>
                  <a:pt x="222250" y="81042"/>
                </a:cubicBezTo>
                <a:lnTo>
                  <a:pt x="222250" y="53660"/>
                </a:lnTo>
                <a:cubicBezTo>
                  <a:pt x="222250" y="47895"/>
                  <a:pt x="224429" y="41770"/>
                  <a:pt x="228423" y="37086"/>
                </a:cubicBezTo>
                <a:cubicBezTo>
                  <a:pt x="229875" y="35285"/>
                  <a:pt x="232780" y="34925"/>
                  <a:pt x="234596" y="36726"/>
                </a:cubicBezTo>
                <a:close/>
                <a:moveTo>
                  <a:pt x="11766" y="36726"/>
                </a:moveTo>
                <a:cubicBezTo>
                  <a:pt x="13905" y="38167"/>
                  <a:pt x="14262" y="40689"/>
                  <a:pt x="12479" y="42491"/>
                </a:cubicBezTo>
                <a:cubicBezTo>
                  <a:pt x="9983" y="45733"/>
                  <a:pt x="8557" y="49696"/>
                  <a:pt x="8557" y="53660"/>
                </a:cubicBezTo>
                <a:lnTo>
                  <a:pt x="8557" y="76718"/>
                </a:lnTo>
                <a:lnTo>
                  <a:pt x="57761" y="76718"/>
                </a:lnTo>
                <a:lnTo>
                  <a:pt x="57761" y="53660"/>
                </a:lnTo>
                <a:cubicBezTo>
                  <a:pt x="57761" y="49696"/>
                  <a:pt x="56335" y="45733"/>
                  <a:pt x="53839" y="42491"/>
                </a:cubicBezTo>
                <a:cubicBezTo>
                  <a:pt x="52413" y="40689"/>
                  <a:pt x="52413" y="38167"/>
                  <a:pt x="54552" y="36726"/>
                </a:cubicBezTo>
                <a:cubicBezTo>
                  <a:pt x="56335" y="34925"/>
                  <a:pt x="59188" y="35285"/>
                  <a:pt x="60614" y="37086"/>
                </a:cubicBezTo>
                <a:cubicBezTo>
                  <a:pt x="64179" y="41770"/>
                  <a:pt x="66319" y="47895"/>
                  <a:pt x="66319" y="53660"/>
                </a:cubicBezTo>
                <a:lnTo>
                  <a:pt x="66319" y="81042"/>
                </a:lnTo>
                <a:cubicBezTo>
                  <a:pt x="66319" y="83203"/>
                  <a:pt x="64536" y="85365"/>
                  <a:pt x="62040" y="85365"/>
                </a:cubicBezTo>
                <a:lnTo>
                  <a:pt x="4278" y="85365"/>
                </a:lnTo>
                <a:cubicBezTo>
                  <a:pt x="1783" y="85365"/>
                  <a:pt x="0" y="83203"/>
                  <a:pt x="0" y="81042"/>
                </a:cubicBezTo>
                <a:lnTo>
                  <a:pt x="0" y="53660"/>
                </a:lnTo>
                <a:cubicBezTo>
                  <a:pt x="0" y="47895"/>
                  <a:pt x="2139" y="41770"/>
                  <a:pt x="6061" y="37086"/>
                </a:cubicBezTo>
                <a:cubicBezTo>
                  <a:pt x="7487" y="35285"/>
                  <a:pt x="9983" y="34925"/>
                  <a:pt x="11766" y="36726"/>
                </a:cubicBezTo>
                <a:close/>
                <a:moveTo>
                  <a:pt x="255588" y="8902"/>
                </a:moveTo>
                <a:cubicBezTo>
                  <a:pt x="249837" y="8902"/>
                  <a:pt x="245165" y="13531"/>
                  <a:pt x="245165" y="18872"/>
                </a:cubicBezTo>
                <a:cubicBezTo>
                  <a:pt x="245165" y="24569"/>
                  <a:pt x="249837" y="29198"/>
                  <a:pt x="255588" y="29198"/>
                </a:cubicBezTo>
                <a:cubicBezTo>
                  <a:pt x="260980" y="29198"/>
                  <a:pt x="265652" y="24569"/>
                  <a:pt x="265652" y="18872"/>
                </a:cubicBezTo>
                <a:cubicBezTo>
                  <a:pt x="265652" y="13531"/>
                  <a:pt x="260980" y="8902"/>
                  <a:pt x="255588" y="8902"/>
                </a:cubicBezTo>
                <a:close/>
                <a:moveTo>
                  <a:pt x="32978" y="8902"/>
                </a:moveTo>
                <a:cubicBezTo>
                  <a:pt x="27587" y="8902"/>
                  <a:pt x="22914" y="13531"/>
                  <a:pt x="22914" y="18872"/>
                </a:cubicBezTo>
                <a:cubicBezTo>
                  <a:pt x="22914" y="24569"/>
                  <a:pt x="27587" y="29198"/>
                  <a:pt x="32978" y="29198"/>
                </a:cubicBezTo>
                <a:cubicBezTo>
                  <a:pt x="38729" y="29198"/>
                  <a:pt x="43402" y="24569"/>
                  <a:pt x="43402" y="18872"/>
                </a:cubicBezTo>
                <a:cubicBezTo>
                  <a:pt x="43402" y="13531"/>
                  <a:pt x="38729" y="8902"/>
                  <a:pt x="32978" y="8902"/>
                </a:cubicBezTo>
                <a:close/>
                <a:moveTo>
                  <a:pt x="133521" y="6815"/>
                </a:moveTo>
                <a:cubicBezTo>
                  <a:pt x="154896" y="5078"/>
                  <a:pt x="176676" y="8197"/>
                  <a:pt x="197102" y="16393"/>
                </a:cubicBezTo>
                <a:lnTo>
                  <a:pt x="201078" y="8553"/>
                </a:lnTo>
                <a:lnTo>
                  <a:pt x="215539" y="30292"/>
                </a:lnTo>
                <a:lnTo>
                  <a:pt x="189149" y="31717"/>
                </a:lnTo>
                <a:lnTo>
                  <a:pt x="193487" y="23877"/>
                </a:lnTo>
                <a:cubicBezTo>
                  <a:pt x="155167" y="9266"/>
                  <a:pt x="112147" y="12829"/>
                  <a:pt x="77080" y="33856"/>
                </a:cubicBezTo>
                <a:cubicBezTo>
                  <a:pt x="76357" y="34212"/>
                  <a:pt x="75634" y="34568"/>
                  <a:pt x="74911" y="34568"/>
                </a:cubicBezTo>
                <a:cubicBezTo>
                  <a:pt x="73465" y="34568"/>
                  <a:pt x="72019" y="33856"/>
                  <a:pt x="70935" y="32430"/>
                </a:cubicBezTo>
                <a:cubicBezTo>
                  <a:pt x="69850" y="30292"/>
                  <a:pt x="70212" y="27441"/>
                  <a:pt x="72381" y="26372"/>
                </a:cubicBezTo>
                <a:cubicBezTo>
                  <a:pt x="91179" y="15146"/>
                  <a:pt x="112147" y="8553"/>
                  <a:pt x="133521" y="6815"/>
                </a:cubicBezTo>
                <a:close/>
                <a:moveTo>
                  <a:pt x="255588" y="0"/>
                </a:moveTo>
                <a:cubicBezTo>
                  <a:pt x="266012" y="0"/>
                  <a:pt x="274279" y="8546"/>
                  <a:pt x="274279" y="18872"/>
                </a:cubicBezTo>
                <a:cubicBezTo>
                  <a:pt x="274279" y="29198"/>
                  <a:pt x="266012" y="37744"/>
                  <a:pt x="255588" y="37744"/>
                </a:cubicBezTo>
                <a:cubicBezTo>
                  <a:pt x="245165" y="37744"/>
                  <a:pt x="236538" y="29198"/>
                  <a:pt x="236538" y="18872"/>
                </a:cubicBezTo>
                <a:cubicBezTo>
                  <a:pt x="236538" y="8546"/>
                  <a:pt x="245165" y="0"/>
                  <a:pt x="255588" y="0"/>
                </a:cubicBezTo>
                <a:close/>
                <a:moveTo>
                  <a:pt x="32978" y="0"/>
                </a:moveTo>
                <a:cubicBezTo>
                  <a:pt x="43402" y="0"/>
                  <a:pt x="52028" y="8546"/>
                  <a:pt x="52028" y="18872"/>
                </a:cubicBezTo>
                <a:cubicBezTo>
                  <a:pt x="52028" y="29198"/>
                  <a:pt x="43402" y="37744"/>
                  <a:pt x="32978" y="37744"/>
                </a:cubicBezTo>
                <a:cubicBezTo>
                  <a:pt x="22555" y="37744"/>
                  <a:pt x="14288" y="29198"/>
                  <a:pt x="14288" y="18872"/>
                </a:cubicBezTo>
                <a:cubicBezTo>
                  <a:pt x="14288" y="8546"/>
                  <a:pt x="22555" y="0"/>
                  <a:pt x="3297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3" name="Freeform 1031">
            <a:extLst>
              <a:ext uri="{FF2B5EF4-FFF2-40B4-BE49-F238E27FC236}">
                <a16:creationId xmlns:a16="http://schemas.microsoft.com/office/drawing/2014/main" id="{3B3DF43B-B699-FA42-B171-FBC838C61F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20563" y="838977"/>
            <a:ext cx="531813" cy="532607"/>
          </a:xfrm>
          <a:custGeom>
            <a:avLst/>
            <a:gdLst>
              <a:gd name="T0" fmla="*/ 68774937 w 293328"/>
              <a:gd name="T1" fmla="*/ 119643747 h 293328"/>
              <a:gd name="T2" fmla="*/ 77985361 w 293328"/>
              <a:gd name="T3" fmla="*/ 119643747 h 293328"/>
              <a:gd name="T4" fmla="*/ 79828350 w 293328"/>
              <a:gd name="T5" fmla="*/ 88042880 h 293328"/>
              <a:gd name="T6" fmla="*/ 81670393 w 293328"/>
              <a:gd name="T7" fmla="*/ 119643747 h 293328"/>
              <a:gd name="T8" fmla="*/ 90880933 w 293328"/>
              <a:gd name="T9" fmla="*/ 119643747 h 293328"/>
              <a:gd name="T10" fmla="*/ 68774937 w 293328"/>
              <a:gd name="T11" fmla="*/ 83169438 h 293328"/>
              <a:gd name="T12" fmla="*/ 81769808 w 293328"/>
              <a:gd name="T13" fmla="*/ 72036662 h 293328"/>
              <a:gd name="T14" fmla="*/ 77869883 w 293328"/>
              <a:gd name="T15" fmla="*/ 72036662 h 293328"/>
              <a:gd name="T16" fmla="*/ 79820244 w 293328"/>
              <a:gd name="T17" fmla="*/ 61024530 h 293328"/>
              <a:gd name="T18" fmla="*/ 79820244 w 293328"/>
              <a:gd name="T19" fmla="*/ 65025693 h 293328"/>
              <a:gd name="T20" fmla="*/ 79820244 w 293328"/>
              <a:gd name="T21" fmla="*/ 61024530 h 293328"/>
              <a:gd name="T22" fmla="*/ 81769808 w 293328"/>
              <a:gd name="T23" fmla="*/ 53313538 h 293328"/>
              <a:gd name="T24" fmla="*/ 77869883 w 293328"/>
              <a:gd name="T25" fmla="*/ 53313538 h 293328"/>
              <a:gd name="T26" fmla="*/ 41142411 w 293328"/>
              <a:gd name="T27" fmla="*/ 25155529 h 293328"/>
              <a:gd name="T28" fmla="*/ 65551253 w 293328"/>
              <a:gd name="T29" fmla="*/ 55026678 h 293328"/>
              <a:gd name="T30" fmla="*/ 68774937 w 293328"/>
              <a:gd name="T31" fmla="*/ 79238482 h 293328"/>
              <a:gd name="T32" fmla="*/ 90880933 w 293328"/>
              <a:gd name="T33" fmla="*/ 56284742 h 293328"/>
              <a:gd name="T34" fmla="*/ 94719662 w 293328"/>
              <a:gd name="T35" fmla="*/ 56284742 h 293328"/>
              <a:gd name="T36" fmla="*/ 97943104 w 293328"/>
              <a:gd name="T37" fmla="*/ 84898726 h 293328"/>
              <a:gd name="T38" fmla="*/ 101166843 w 293328"/>
              <a:gd name="T39" fmla="*/ 54555247 h 293328"/>
              <a:gd name="T40" fmla="*/ 71077972 w 293328"/>
              <a:gd name="T41" fmla="*/ 46065160 h 293328"/>
              <a:gd name="T42" fmla="*/ 45594413 w 293328"/>
              <a:gd name="T43" fmla="*/ 25155529 h 293328"/>
              <a:gd name="T44" fmla="*/ 79900704 w 293328"/>
              <a:gd name="T45" fmla="*/ 19856664 h 293328"/>
              <a:gd name="T46" fmla="*/ 79900704 w 293328"/>
              <a:gd name="T47" fmla="*/ 34077248 h 293328"/>
              <a:gd name="T48" fmla="*/ 79900704 w 293328"/>
              <a:gd name="T49" fmla="*/ 19856664 h 293328"/>
              <a:gd name="T50" fmla="*/ 90582629 w 293328"/>
              <a:gd name="T51" fmla="*/ 26889373 h 293328"/>
              <a:gd name="T52" fmla="*/ 69066944 w 293328"/>
              <a:gd name="T53" fmla="*/ 26889373 h 293328"/>
              <a:gd name="T54" fmla="*/ 1841582 w 293328"/>
              <a:gd name="T55" fmla="*/ 0 h 293328"/>
              <a:gd name="T56" fmla="*/ 125114871 w 293328"/>
              <a:gd name="T57" fmla="*/ 2044476 h 293328"/>
              <a:gd name="T58" fmla="*/ 117592766 w 293328"/>
              <a:gd name="T59" fmla="*/ 3930422 h 293328"/>
              <a:gd name="T60" fmla="*/ 115597421 w 293328"/>
              <a:gd name="T61" fmla="*/ 73735681 h 293328"/>
              <a:gd name="T62" fmla="*/ 105004974 w 293328"/>
              <a:gd name="T63" fmla="*/ 81754117 h 293328"/>
              <a:gd name="T64" fmla="*/ 94719662 w 293328"/>
              <a:gd name="T65" fmla="*/ 88042880 h 293328"/>
              <a:gd name="T66" fmla="*/ 86275502 w 293328"/>
              <a:gd name="T67" fmla="*/ 128133161 h 293328"/>
              <a:gd name="T68" fmla="*/ 73380249 w 293328"/>
              <a:gd name="T69" fmla="*/ 128133161 h 293328"/>
              <a:gd name="T70" fmla="*/ 64937487 w 293328"/>
              <a:gd name="T71" fmla="*/ 62730148 h 293328"/>
              <a:gd name="T72" fmla="*/ 38379011 w 293328"/>
              <a:gd name="T73" fmla="*/ 32544374 h 293328"/>
              <a:gd name="T74" fmla="*/ 48357047 w 293328"/>
              <a:gd name="T75" fmla="*/ 22325141 h 293328"/>
              <a:gd name="T76" fmla="*/ 71077972 w 293328"/>
              <a:gd name="T77" fmla="*/ 42134862 h 293328"/>
              <a:gd name="T78" fmla="*/ 105004974 w 293328"/>
              <a:gd name="T79" fmla="*/ 54555247 h 293328"/>
              <a:gd name="T80" fmla="*/ 113755352 w 293328"/>
              <a:gd name="T81" fmla="*/ 69962757 h 293328"/>
              <a:gd name="T82" fmla="*/ 11360453 w 293328"/>
              <a:gd name="T83" fmla="*/ 3930422 h 293328"/>
              <a:gd name="T84" fmla="*/ 59103376 w 293328"/>
              <a:gd name="T85" fmla="*/ 69962757 h 293328"/>
              <a:gd name="T86" fmla="*/ 59103376 w 293328"/>
              <a:gd name="T87" fmla="*/ 73735681 h 293328"/>
              <a:gd name="T88" fmla="*/ 7522971 w 293328"/>
              <a:gd name="T89" fmla="*/ 71849273 h 293328"/>
              <a:gd name="T90" fmla="*/ 1841582 w 293328"/>
              <a:gd name="T91" fmla="*/ 3930422 h 293328"/>
              <a:gd name="T92" fmla="*/ 1841582 w 293328"/>
              <a:gd name="T93" fmla="*/ 0 h 29332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93328" h="293328">
                <a:moveTo>
                  <a:pt x="161240" y="190394"/>
                </a:moveTo>
                <a:lnTo>
                  <a:pt x="161240" y="273893"/>
                </a:lnTo>
                <a:cubicBezTo>
                  <a:pt x="161240" y="279652"/>
                  <a:pt x="165919" y="284690"/>
                  <a:pt x="172038" y="284690"/>
                </a:cubicBezTo>
                <a:cubicBezTo>
                  <a:pt x="177796" y="284690"/>
                  <a:pt x="182835" y="279652"/>
                  <a:pt x="182835" y="273893"/>
                </a:cubicBezTo>
                <a:lnTo>
                  <a:pt x="182835" y="205870"/>
                </a:lnTo>
                <a:cubicBezTo>
                  <a:pt x="182835" y="203350"/>
                  <a:pt x="184635" y="201551"/>
                  <a:pt x="187154" y="201551"/>
                </a:cubicBezTo>
                <a:cubicBezTo>
                  <a:pt x="189674" y="201551"/>
                  <a:pt x="191473" y="203350"/>
                  <a:pt x="191473" y="205870"/>
                </a:cubicBezTo>
                <a:lnTo>
                  <a:pt x="191473" y="273893"/>
                </a:lnTo>
                <a:cubicBezTo>
                  <a:pt x="191473" y="279652"/>
                  <a:pt x="196512" y="284690"/>
                  <a:pt x="202270" y="284690"/>
                </a:cubicBezTo>
                <a:cubicBezTo>
                  <a:pt x="208389" y="284690"/>
                  <a:pt x="213068" y="279652"/>
                  <a:pt x="213068" y="273893"/>
                </a:cubicBezTo>
                <a:lnTo>
                  <a:pt x="213068" y="190394"/>
                </a:lnTo>
                <a:lnTo>
                  <a:pt x="161240" y="190394"/>
                </a:lnTo>
                <a:close/>
                <a:moveTo>
                  <a:pt x="187135" y="160338"/>
                </a:moveTo>
                <a:cubicBezTo>
                  <a:pt x="189802" y="160338"/>
                  <a:pt x="191707" y="162624"/>
                  <a:pt x="191707" y="164910"/>
                </a:cubicBezTo>
                <a:cubicBezTo>
                  <a:pt x="191707" y="167577"/>
                  <a:pt x="189802" y="169482"/>
                  <a:pt x="187135" y="169482"/>
                </a:cubicBezTo>
                <a:cubicBezTo>
                  <a:pt x="184468" y="169482"/>
                  <a:pt x="182563" y="167577"/>
                  <a:pt x="182563" y="164910"/>
                </a:cubicBezTo>
                <a:cubicBezTo>
                  <a:pt x="182563" y="162243"/>
                  <a:pt x="184468" y="160338"/>
                  <a:pt x="187135" y="160338"/>
                </a:cubicBezTo>
                <a:close/>
                <a:moveTo>
                  <a:pt x="187135" y="139700"/>
                </a:moveTo>
                <a:cubicBezTo>
                  <a:pt x="189802" y="139700"/>
                  <a:pt x="191707" y="141532"/>
                  <a:pt x="191707" y="144096"/>
                </a:cubicBezTo>
                <a:cubicBezTo>
                  <a:pt x="191707" y="146661"/>
                  <a:pt x="189802" y="148859"/>
                  <a:pt x="187135" y="148859"/>
                </a:cubicBezTo>
                <a:cubicBezTo>
                  <a:pt x="184468" y="148859"/>
                  <a:pt x="182563" y="146661"/>
                  <a:pt x="182563" y="144096"/>
                </a:cubicBezTo>
                <a:cubicBezTo>
                  <a:pt x="182563" y="141532"/>
                  <a:pt x="184468" y="139700"/>
                  <a:pt x="187135" y="139700"/>
                </a:cubicBezTo>
                <a:close/>
                <a:moveTo>
                  <a:pt x="187135" y="117475"/>
                </a:moveTo>
                <a:cubicBezTo>
                  <a:pt x="189802" y="117475"/>
                  <a:pt x="191707" y="119761"/>
                  <a:pt x="191707" y="122047"/>
                </a:cubicBezTo>
                <a:cubicBezTo>
                  <a:pt x="191707" y="124714"/>
                  <a:pt x="189802" y="126619"/>
                  <a:pt x="187135" y="126619"/>
                </a:cubicBezTo>
                <a:cubicBezTo>
                  <a:pt x="184468" y="126619"/>
                  <a:pt x="182563" y="124714"/>
                  <a:pt x="182563" y="122047"/>
                </a:cubicBezTo>
                <a:cubicBezTo>
                  <a:pt x="182563" y="119761"/>
                  <a:pt x="184468" y="117475"/>
                  <a:pt x="187135" y="117475"/>
                </a:cubicBezTo>
                <a:close/>
                <a:moveTo>
                  <a:pt x="96456" y="57586"/>
                </a:moveTo>
                <a:cubicBezTo>
                  <a:pt x="93577" y="60465"/>
                  <a:pt x="93577" y="65144"/>
                  <a:pt x="96456" y="68023"/>
                </a:cubicBezTo>
                <a:lnTo>
                  <a:pt x="153682" y="125969"/>
                </a:lnTo>
                <a:cubicBezTo>
                  <a:pt x="158361" y="130648"/>
                  <a:pt x="161240" y="136767"/>
                  <a:pt x="161240" y="143605"/>
                </a:cubicBezTo>
                <a:lnTo>
                  <a:pt x="161240" y="181396"/>
                </a:lnTo>
                <a:lnTo>
                  <a:pt x="213068" y="181396"/>
                </a:lnTo>
                <a:lnTo>
                  <a:pt x="213068" y="128849"/>
                </a:lnTo>
                <a:cubicBezTo>
                  <a:pt x="213068" y="126329"/>
                  <a:pt x="215227" y="124530"/>
                  <a:pt x="217387" y="124530"/>
                </a:cubicBezTo>
                <a:cubicBezTo>
                  <a:pt x="219906" y="124530"/>
                  <a:pt x="222066" y="126329"/>
                  <a:pt x="222066" y="128849"/>
                </a:cubicBezTo>
                <a:lnTo>
                  <a:pt x="222066" y="187154"/>
                </a:lnTo>
                <a:cubicBezTo>
                  <a:pt x="222066" y="191113"/>
                  <a:pt x="225305" y="194353"/>
                  <a:pt x="229624" y="194353"/>
                </a:cubicBezTo>
                <a:cubicBezTo>
                  <a:pt x="233943" y="194353"/>
                  <a:pt x="237182" y="191113"/>
                  <a:pt x="237182" y="187154"/>
                </a:cubicBezTo>
                <a:lnTo>
                  <a:pt x="237182" y="124890"/>
                </a:lnTo>
                <a:cubicBezTo>
                  <a:pt x="237182" y="114092"/>
                  <a:pt x="228184" y="105454"/>
                  <a:pt x="217387" y="105454"/>
                </a:cubicBezTo>
                <a:lnTo>
                  <a:pt x="166639" y="105454"/>
                </a:lnTo>
                <a:cubicBezTo>
                  <a:pt x="159081" y="105454"/>
                  <a:pt x="151883" y="102575"/>
                  <a:pt x="146124" y="96816"/>
                </a:cubicBezTo>
                <a:lnTo>
                  <a:pt x="106894" y="57586"/>
                </a:lnTo>
                <a:cubicBezTo>
                  <a:pt x="104014" y="54706"/>
                  <a:pt x="98976" y="54706"/>
                  <a:pt x="96456" y="57586"/>
                </a:cubicBezTo>
                <a:close/>
                <a:moveTo>
                  <a:pt x="187325" y="45456"/>
                </a:moveTo>
                <a:cubicBezTo>
                  <a:pt x="178381" y="45456"/>
                  <a:pt x="170869" y="52611"/>
                  <a:pt x="170869" y="61555"/>
                </a:cubicBezTo>
                <a:cubicBezTo>
                  <a:pt x="170869" y="70856"/>
                  <a:pt x="178381" y="78011"/>
                  <a:pt x="187325" y="78011"/>
                </a:cubicBezTo>
                <a:cubicBezTo>
                  <a:pt x="196269" y="78011"/>
                  <a:pt x="203781" y="70856"/>
                  <a:pt x="203781" y="61555"/>
                </a:cubicBezTo>
                <a:cubicBezTo>
                  <a:pt x="203781" y="52611"/>
                  <a:pt x="196269" y="45456"/>
                  <a:pt x="187325" y="45456"/>
                </a:cubicBezTo>
                <a:close/>
                <a:moveTo>
                  <a:pt x="187325" y="36513"/>
                </a:moveTo>
                <a:cubicBezTo>
                  <a:pt x="201277" y="36513"/>
                  <a:pt x="212367" y="47961"/>
                  <a:pt x="212367" y="61555"/>
                </a:cubicBezTo>
                <a:cubicBezTo>
                  <a:pt x="212367" y="75507"/>
                  <a:pt x="201277" y="86955"/>
                  <a:pt x="187325" y="86955"/>
                </a:cubicBezTo>
                <a:cubicBezTo>
                  <a:pt x="173373" y="86955"/>
                  <a:pt x="161925" y="75507"/>
                  <a:pt x="161925" y="61555"/>
                </a:cubicBezTo>
                <a:cubicBezTo>
                  <a:pt x="161925" y="47961"/>
                  <a:pt x="173373" y="36513"/>
                  <a:pt x="187325" y="36513"/>
                </a:cubicBezTo>
                <a:close/>
                <a:moveTo>
                  <a:pt x="4319" y="0"/>
                </a:moveTo>
                <a:lnTo>
                  <a:pt x="289009" y="0"/>
                </a:lnTo>
                <a:cubicBezTo>
                  <a:pt x="291529" y="0"/>
                  <a:pt x="293328" y="1799"/>
                  <a:pt x="293328" y="4679"/>
                </a:cubicBezTo>
                <a:cubicBezTo>
                  <a:pt x="293328" y="6838"/>
                  <a:pt x="291529" y="8998"/>
                  <a:pt x="289009" y="8998"/>
                </a:cubicBezTo>
                <a:lnTo>
                  <a:pt x="275692" y="8998"/>
                </a:lnTo>
                <a:lnTo>
                  <a:pt x="275692" y="164480"/>
                </a:lnTo>
                <a:cubicBezTo>
                  <a:pt x="275692" y="166999"/>
                  <a:pt x="273893" y="168799"/>
                  <a:pt x="271014" y="168799"/>
                </a:cubicBezTo>
                <a:lnTo>
                  <a:pt x="246180" y="168799"/>
                </a:lnTo>
                <a:lnTo>
                  <a:pt x="246180" y="187154"/>
                </a:lnTo>
                <a:cubicBezTo>
                  <a:pt x="246180" y="196152"/>
                  <a:pt x="238622" y="203710"/>
                  <a:pt x="229624" y="203710"/>
                </a:cubicBezTo>
                <a:cubicBezTo>
                  <a:pt x="226744" y="203710"/>
                  <a:pt x="224225" y="202631"/>
                  <a:pt x="222066" y="201551"/>
                </a:cubicBezTo>
                <a:lnTo>
                  <a:pt x="222066" y="273893"/>
                </a:lnTo>
                <a:cubicBezTo>
                  <a:pt x="222066" y="284690"/>
                  <a:pt x="213068" y="293328"/>
                  <a:pt x="202270" y="293328"/>
                </a:cubicBezTo>
                <a:cubicBezTo>
                  <a:pt x="196152" y="293328"/>
                  <a:pt x="190753" y="290449"/>
                  <a:pt x="187154" y="286130"/>
                </a:cubicBezTo>
                <a:cubicBezTo>
                  <a:pt x="183555" y="290449"/>
                  <a:pt x="178156" y="293328"/>
                  <a:pt x="172038" y="293328"/>
                </a:cubicBezTo>
                <a:cubicBezTo>
                  <a:pt x="161240" y="293328"/>
                  <a:pt x="152243" y="284690"/>
                  <a:pt x="152243" y="273893"/>
                </a:cubicBezTo>
                <a:lnTo>
                  <a:pt x="152243" y="143605"/>
                </a:lnTo>
                <a:cubicBezTo>
                  <a:pt x="152243" y="139286"/>
                  <a:pt x="150443" y="135327"/>
                  <a:pt x="147204" y="132088"/>
                </a:cubicBezTo>
                <a:lnTo>
                  <a:pt x="89978" y="74501"/>
                </a:lnTo>
                <a:cubicBezTo>
                  <a:pt x="83859" y="68023"/>
                  <a:pt x="83859" y="57586"/>
                  <a:pt x="89978" y="51107"/>
                </a:cubicBezTo>
                <a:cubicBezTo>
                  <a:pt x="96456" y="44989"/>
                  <a:pt x="106894" y="44989"/>
                  <a:pt x="113372" y="51107"/>
                </a:cubicBezTo>
                <a:lnTo>
                  <a:pt x="152603" y="90698"/>
                </a:lnTo>
                <a:cubicBezTo>
                  <a:pt x="156562" y="94297"/>
                  <a:pt x="161600" y="96456"/>
                  <a:pt x="166639" y="96456"/>
                </a:cubicBezTo>
                <a:lnTo>
                  <a:pt x="217387" y="96456"/>
                </a:lnTo>
                <a:cubicBezTo>
                  <a:pt x="233223" y="96456"/>
                  <a:pt x="246180" y="109053"/>
                  <a:pt x="246180" y="124890"/>
                </a:cubicBezTo>
                <a:lnTo>
                  <a:pt x="246180" y="160161"/>
                </a:lnTo>
                <a:lnTo>
                  <a:pt x="266695" y="160161"/>
                </a:lnTo>
                <a:lnTo>
                  <a:pt x="266695" y="8998"/>
                </a:lnTo>
                <a:lnTo>
                  <a:pt x="26633" y="8998"/>
                </a:lnTo>
                <a:lnTo>
                  <a:pt x="26633" y="160161"/>
                </a:lnTo>
                <a:lnTo>
                  <a:pt x="138566" y="160161"/>
                </a:lnTo>
                <a:cubicBezTo>
                  <a:pt x="141085" y="160161"/>
                  <a:pt x="143245" y="161961"/>
                  <a:pt x="143245" y="164480"/>
                </a:cubicBezTo>
                <a:cubicBezTo>
                  <a:pt x="143245" y="166999"/>
                  <a:pt x="141085" y="168799"/>
                  <a:pt x="138566" y="168799"/>
                </a:cubicBezTo>
                <a:lnTo>
                  <a:pt x="22314" y="168799"/>
                </a:lnTo>
                <a:cubicBezTo>
                  <a:pt x="19795" y="168799"/>
                  <a:pt x="17636" y="166999"/>
                  <a:pt x="17636" y="164480"/>
                </a:cubicBezTo>
                <a:lnTo>
                  <a:pt x="17636" y="8998"/>
                </a:lnTo>
                <a:lnTo>
                  <a:pt x="4319" y="8998"/>
                </a:lnTo>
                <a:cubicBezTo>
                  <a:pt x="1799" y="8998"/>
                  <a:pt x="0" y="6838"/>
                  <a:pt x="0" y="4679"/>
                </a:cubicBezTo>
                <a:cubicBezTo>
                  <a:pt x="0" y="1799"/>
                  <a:pt x="1799" y="0"/>
                  <a:pt x="4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8" name="Femkant 7"/>
          <p:cNvSpPr/>
          <p:nvPr/>
        </p:nvSpPr>
        <p:spPr>
          <a:xfrm>
            <a:off x="64360" y="4404261"/>
            <a:ext cx="2686156" cy="63655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latin typeface="Poppins"/>
              </a:rPr>
              <a:t>Basiskurs i prosjektstrukturer og datainnsamlingsark </a:t>
            </a:r>
          </a:p>
        </p:txBody>
      </p:sp>
      <p:sp>
        <p:nvSpPr>
          <p:cNvPr id="35" name="Femkant 34"/>
          <p:cNvSpPr/>
          <p:nvPr/>
        </p:nvSpPr>
        <p:spPr>
          <a:xfrm>
            <a:off x="7823730" y="5570767"/>
            <a:ext cx="4382470" cy="557350"/>
          </a:xfrm>
          <a:prstGeom prst="homePlate">
            <a:avLst/>
          </a:prstGeom>
          <a:gradFill flip="none" rotWithShape="1">
            <a:gsLst>
              <a:gs pos="30000">
                <a:schemeClr val="accent4"/>
              </a:gs>
              <a:gs pos="67000">
                <a:srgbClr val="5B9BD5"/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>
                <a:latin typeface="Poppins"/>
              </a:rPr>
              <a:t>Ferdigstille årsbudsjett</a:t>
            </a:r>
          </a:p>
        </p:txBody>
      </p:sp>
      <p:sp>
        <p:nvSpPr>
          <p:cNvPr id="10" name="Pil høyre 9"/>
          <p:cNvSpPr/>
          <p:nvPr/>
        </p:nvSpPr>
        <p:spPr>
          <a:xfrm>
            <a:off x="64360" y="6185458"/>
            <a:ext cx="12141840" cy="529763"/>
          </a:xfrm>
          <a:prstGeom prst="rightArrow">
            <a:avLst>
              <a:gd name="adj1" fmla="val 100000"/>
              <a:gd name="adj2" fmla="val 53783"/>
            </a:avLst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00">
              <a:latin typeface="Poppins"/>
            </a:endParaRPr>
          </a:p>
        </p:txBody>
      </p:sp>
      <p:sp>
        <p:nvSpPr>
          <p:cNvPr id="13" name="TekstSylinder 12"/>
          <p:cNvSpPr txBox="1"/>
          <p:nvPr/>
        </p:nvSpPr>
        <p:spPr>
          <a:xfrm>
            <a:off x="-3671" y="6314683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1. juni</a:t>
            </a:r>
          </a:p>
        </p:txBody>
      </p:sp>
      <p:sp>
        <p:nvSpPr>
          <p:cNvPr id="36" name="TekstSylinder 35"/>
          <p:cNvSpPr txBox="1"/>
          <p:nvPr/>
        </p:nvSpPr>
        <p:spPr>
          <a:xfrm>
            <a:off x="2179781" y="6314684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8. juni</a:t>
            </a:r>
          </a:p>
        </p:txBody>
      </p:sp>
      <p:sp>
        <p:nvSpPr>
          <p:cNvPr id="37" name="TekstSylinder 36"/>
          <p:cNvSpPr txBox="1"/>
          <p:nvPr/>
        </p:nvSpPr>
        <p:spPr>
          <a:xfrm>
            <a:off x="4299583" y="6295936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3. </a:t>
            </a:r>
            <a:r>
              <a:rPr lang="nb-NO" sz="1200" err="1"/>
              <a:t>sep</a:t>
            </a:r>
            <a:endParaRPr lang="nb-NO" sz="1200"/>
          </a:p>
        </p:txBody>
      </p:sp>
      <p:sp>
        <p:nvSpPr>
          <p:cNvPr id="38" name="TekstSylinder 37"/>
          <p:cNvSpPr txBox="1"/>
          <p:nvPr/>
        </p:nvSpPr>
        <p:spPr>
          <a:xfrm>
            <a:off x="5293660" y="6306366"/>
            <a:ext cx="7110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0. </a:t>
            </a:r>
            <a:r>
              <a:rPr lang="nb-NO" sz="1200" err="1"/>
              <a:t>sep</a:t>
            </a:r>
            <a:endParaRPr lang="nb-NO" sz="1200"/>
          </a:p>
        </p:txBody>
      </p:sp>
      <p:sp>
        <p:nvSpPr>
          <p:cNvPr id="39" name="TekstSylinder 38"/>
          <p:cNvSpPr txBox="1"/>
          <p:nvPr/>
        </p:nvSpPr>
        <p:spPr>
          <a:xfrm>
            <a:off x="6546024" y="6306365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0. </a:t>
            </a:r>
            <a:r>
              <a:rPr lang="nb-NO" sz="1200" err="1"/>
              <a:t>okt</a:t>
            </a:r>
            <a:endParaRPr lang="nb-NO" sz="1200"/>
          </a:p>
        </p:txBody>
      </p:sp>
      <p:sp>
        <p:nvSpPr>
          <p:cNvPr id="40" name="TekstSylinder 39"/>
          <p:cNvSpPr txBox="1"/>
          <p:nvPr/>
        </p:nvSpPr>
        <p:spPr>
          <a:xfrm>
            <a:off x="8255360" y="6232450"/>
            <a:ext cx="1484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udsjettfrist blir bestemt senere</a:t>
            </a:r>
          </a:p>
        </p:txBody>
      </p:sp>
      <p:sp>
        <p:nvSpPr>
          <p:cNvPr id="41" name="TekstSylinder 40"/>
          <p:cNvSpPr txBox="1"/>
          <p:nvPr/>
        </p:nvSpPr>
        <p:spPr>
          <a:xfrm>
            <a:off x="10221452" y="6306363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1. jan</a:t>
            </a:r>
          </a:p>
        </p:txBody>
      </p:sp>
      <p:sp>
        <p:nvSpPr>
          <p:cNvPr id="42" name="TextBox 17">
            <a:extLst>
              <a:ext uri="{FF2B5EF4-FFF2-40B4-BE49-F238E27FC236}">
                <a16:creationId xmlns:a16="http://schemas.microsoft.com/office/drawing/2014/main" id="{219185C5-7AA2-2F42-85D4-57CDBC84DE12}"/>
              </a:ext>
            </a:extLst>
          </p:cNvPr>
          <p:cNvSpPr txBox="1"/>
          <p:nvPr/>
        </p:nvSpPr>
        <p:spPr>
          <a:xfrm>
            <a:off x="832244" y="2901881"/>
            <a:ext cx="1592103" cy="108491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1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28.6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asiskurs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holdt</a:t>
            </a:r>
            <a:endParaRPr lang="en-US" sz="105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endParaRPr lang="en-US" sz="1200" b="1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</a:p>
        </p:txBody>
      </p:sp>
      <p:sp>
        <p:nvSpPr>
          <p:cNvPr id="43" name="TextBox 18">
            <a:extLst>
              <a:ext uri="{FF2B5EF4-FFF2-40B4-BE49-F238E27FC236}">
                <a16:creationId xmlns:a16="http://schemas.microsoft.com/office/drawing/2014/main" id="{0B64F306-65E4-CD4C-9FDB-544083200ED5}"/>
              </a:ext>
            </a:extLst>
          </p:cNvPr>
          <p:cNvSpPr txBox="1"/>
          <p:nvPr/>
        </p:nvSpPr>
        <p:spPr>
          <a:xfrm>
            <a:off x="2792907" y="2880153"/>
            <a:ext cx="1766830" cy="112338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2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3.9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valitetssikrin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ppset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sjektstruktu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for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 og BOA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40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</a:p>
        </p:txBody>
      </p:sp>
      <p:cxnSp>
        <p:nvCxnSpPr>
          <p:cNvPr id="51" name="Rett linje 50"/>
          <p:cNvCxnSpPr/>
          <p:nvPr/>
        </p:nvCxnSpPr>
        <p:spPr>
          <a:xfrm>
            <a:off x="6947864" y="1358060"/>
            <a:ext cx="161" cy="540933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emkant 30"/>
          <p:cNvSpPr/>
          <p:nvPr/>
        </p:nvSpPr>
        <p:spPr>
          <a:xfrm>
            <a:off x="277977" y="5083675"/>
            <a:ext cx="4384659" cy="529957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latin typeface="Poppins"/>
              </a:rPr>
              <a:t>Fakultet/institutt bestemmer prosjektstrukturer for BFV og BOA. Samtidig fortsetter arbeidet med datainnsamlingsarket</a:t>
            </a:r>
          </a:p>
        </p:txBody>
      </p:sp>
      <p:sp>
        <p:nvSpPr>
          <p:cNvPr id="34" name="Femkant 33"/>
          <p:cNvSpPr/>
          <p:nvPr/>
        </p:nvSpPr>
        <p:spPr>
          <a:xfrm>
            <a:off x="277977" y="5649111"/>
            <a:ext cx="6637366" cy="497328"/>
          </a:xfrm>
          <a:prstGeom prst="homeP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latin typeface="Poppins"/>
              </a:rPr>
              <a:t>Fakultet/institutt jobber med å konvertere eksisterende prosjekter og legger inn i datainnsamlingsarket</a:t>
            </a:r>
          </a:p>
        </p:txBody>
      </p:sp>
      <p:sp>
        <p:nvSpPr>
          <p:cNvPr id="59" name="TekstSylinder 58"/>
          <p:cNvSpPr txBox="1"/>
          <p:nvPr/>
        </p:nvSpPr>
        <p:spPr>
          <a:xfrm>
            <a:off x="59795" y="4002055"/>
            <a:ext cx="2197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chemeClr val="tx1">
                    <a:lumMod val="65000"/>
                    <a:lumOff val="35000"/>
                  </a:schemeClr>
                </a:solidFill>
                <a:latin typeface="Poppins"/>
              </a:rPr>
              <a:t>TIDSLINJE</a:t>
            </a:r>
            <a:r>
              <a:rPr lang="nb-NO">
                <a:solidFill>
                  <a:schemeClr val="tx1">
                    <a:lumMod val="65000"/>
                    <a:lumOff val="35000"/>
                  </a:schemeClr>
                </a:solidFill>
                <a:latin typeface="Poppins"/>
              </a:rPr>
              <a:t>:</a:t>
            </a:r>
          </a:p>
        </p:txBody>
      </p:sp>
      <p:sp>
        <p:nvSpPr>
          <p:cNvPr id="61" name="TextBox 20">
            <a:extLst>
              <a:ext uri="{FF2B5EF4-FFF2-40B4-BE49-F238E27FC236}">
                <a16:creationId xmlns:a16="http://schemas.microsoft.com/office/drawing/2014/main" id="{DA2B861B-385A-B74B-A10D-E9FECEF727ED}"/>
              </a:ext>
            </a:extLst>
          </p:cNvPr>
          <p:cNvSpPr txBox="1"/>
          <p:nvPr/>
        </p:nvSpPr>
        <p:spPr>
          <a:xfrm>
            <a:off x="10109742" y="2970417"/>
            <a:ext cx="833883" cy="64633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RIFT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1. jan</a:t>
            </a:r>
          </a:p>
        </p:txBody>
      </p:sp>
    </p:spTree>
    <p:extLst>
      <p:ext uri="{BB962C8B-B14F-4D97-AF65-F5344CB8AC3E}">
        <p14:creationId xmlns:p14="http://schemas.microsoft.com/office/powerpoint/2010/main" val="28342011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175037-6B6D-4301-8909-D3BF0C2DD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178" y="2818524"/>
            <a:ext cx="10934700" cy="368281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433E10-3A9A-40AB-86BB-89DE55E10370}"/>
              </a:ext>
            </a:extLst>
          </p:cNvPr>
          <p:cNvSpPr txBox="1"/>
          <p:nvPr/>
        </p:nvSpPr>
        <p:spPr>
          <a:xfrm>
            <a:off x="8902863" y="1047826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EFB21-504F-4EA1-94FF-35FBED987C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4" y="-5575413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C970A5-0E0C-4700-B55D-DF325A7B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47826"/>
          </a:xfrm>
        </p:spPr>
        <p:txBody>
          <a:bodyPr>
            <a:normAutofit fontScale="90000"/>
          </a:bodyPr>
          <a:lstStyle/>
          <a:p>
            <a:r>
              <a:rPr lang="nb-NO">
                <a:solidFill>
                  <a:schemeClr val="bg1"/>
                </a:solidFill>
              </a:rPr>
              <a:t>Muliggjør et aktivt valg av egenfinansieringsandel</a:t>
            </a:r>
          </a:p>
        </p:txBody>
      </p:sp>
    </p:spTree>
    <p:extLst>
      <p:ext uri="{BB962C8B-B14F-4D97-AF65-F5344CB8AC3E}">
        <p14:creationId xmlns:p14="http://schemas.microsoft.com/office/powerpoint/2010/main" val="135545002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022BDE4A-8A20-4A69-9C5A-581C82036A4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2FD38EA9-A624-4221-9AF6-31E74D581A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696" r="-2" b="119"/>
          <a:stretch/>
        </p:blipFill>
        <p:spPr>
          <a:xfrm>
            <a:off x="198744" y="2054578"/>
            <a:ext cx="5803323" cy="42462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99AD4B3-1C34-4A4B-90D0-DBB9946C9A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BD02EBE7-9F80-45F2-8758-B1D543CEB8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64" r="-2" b="1268"/>
          <a:stretch/>
        </p:blipFill>
        <p:spPr>
          <a:xfrm>
            <a:off x="6200812" y="2054579"/>
            <a:ext cx="5803323" cy="4031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7503DD-50AC-429F-A2D0-88926A4AC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1289"/>
            <a:ext cx="12202880" cy="903112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Muliggjør et aktivt valg av egenfinansieringsandel</a:t>
            </a:r>
            <a:endParaRPr lang="en-US" sz="40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2C3C2E-800A-4DFE-BF47-39F76211F9FB}"/>
              </a:ext>
            </a:extLst>
          </p:cNvPr>
          <p:cNvSpPr txBox="1"/>
          <p:nvPr/>
        </p:nvSpPr>
        <p:spPr>
          <a:xfrm>
            <a:off x="8993174" y="1069822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</p:spTree>
    <p:extLst>
      <p:ext uri="{BB962C8B-B14F-4D97-AF65-F5344CB8AC3E}">
        <p14:creationId xmlns:p14="http://schemas.microsoft.com/office/powerpoint/2010/main" val="9096922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222E02-D773-4C85-8074-EC7B98421E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831" y="1652955"/>
            <a:ext cx="7874977" cy="48203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1F334A3-1DD3-4F55-937E-3F952BFBB5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7D3974-7AC0-4904-AA68-D524A9B69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"/>
            <a:ext cx="12198651" cy="1028702"/>
          </a:xfrm>
        </p:spPr>
        <p:txBody>
          <a:bodyPr>
            <a:normAutofit/>
          </a:bodyPr>
          <a:lstStyle/>
          <a:p>
            <a:r>
              <a:rPr lang="nb-NO">
                <a:solidFill>
                  <a:schemeClr val="bg1"/>
                </a:solidFill>
              </a:rPr>
              <a:t>Endringer i prosjektet </a:t>
            </a:r>
            <a:r>
              <a:rPr lang="nb-NO">
                <a:solidFill>
                  <a:schemeClr val="bg1"/>
                </a:solidFill>
                <a:sym typeface="Wingdings" panose="05000000000000000000" pitchFamily="2" charset="2"/>
              </a:rPr>
              <a:t>&amp; konsekvenser for samspill</a:t>
            </a:r>
            <a:endParaRPr lang="nb-NO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E83693-BCDB-40FE-AFC7-5A2877B52EE1}"/>
              </a:ext>
            </a:extLst>
          </p:cNvPr>
          <p:cNvSpPr txBox="1"/>
          <p:nvPr/>
        </p:nvSpPr>
        <p:spPr>
          <a:xfrm>
            <a:off x="8898878" y="1134210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</p:spTree>
    <p:extLst>
      <p:ext uri="{BB962C8B-B14F-4D97-AF65-F5344CB8AC3E}">
        <p14:creationId xmlns:p14="http://schemas.microsoft.com/office/powerpoint/2010/main" val="314456515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0BD00695-6E12-442A-9BC6-35FE81332914}"/>
              </a:ext>
            </a:extLst>
          </p:cNvPr>
          <p:cNvSpPr txBox="1"/>
          <p:nvPr/>
        </p:nvSpPr>
        <p:spPr>
          <a:xfrm>
            <a:off x="3458830" y="5587615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AEA2DE-92C0-4658-AC06-5C3C78F098AA}"/>
              </a:ext>
            </a:extLst>
          </p:cNvPr>
          <p:cNvSpPr txBox="1"/>
          <p:nvPr/>
        </p:nvSpPr>
        <p:spPr>
          <a:xfrm>
            <a:off x="5168981" y="5582307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7EE31F6-2CF4-41B8-9820-3ADB5F6F439F}"/>
              </a:ext>
            </a:extLst>
          </p:cNvPr>
          <p:cNvSpPr txBox="1"/>
          <p:nvPr/>
        </p:nvSpPr>
        <p:spPr>
          <a:xfrm>
            <a:off x="6557541" y="5589396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634ABCF-7CAD-480E-A3AB-DA6DBD57AB34}"/>
              </a:ext>
            </a:extLst>
          </p:cNvPr>
          <p:cNvSpPr txBox="1"/>
          <p:nvPr/>
        </p:nvSpPr>
        <p:spPr>
          <a:xfrm>
            <a:off x="7921796" y="5589488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900D8B2-563A-49F9-AD63-6DB31CD26C35}"/>
              </a:ext>
            </a:extLst>
          </p:cNvPr>
          <p:cNvSpPr txBox="1"/>
          <p:nvPr/>
        </p:nvSpPr>
        <p:spPr>
          <a:xfrm>
            <a:off x="5291566" y="2703268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Prosjekt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5233E961-2E4B-42C4-AACD-017DDAB433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1A2F35-F743-4E63-BF3B-AA76E3027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231" y="1"/>
            <a:ext cx="10515600" cy="10287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 med 2 </a:t>
            </a:r>
            <a:r>
              <a:rPr lang="nb-NO" err="1">
                <a:solidFill>
                  <a:schemeClr val="bg1"/>
                </a:solidFill>
              </a:rPr>
              <a:t>finansiører</a:t>
            </a:r>
            <a:r>
              <a:rPr lang="nb-NO">
                <a:solidFill>
                  <a:schemeClr val="bg1"/>
                </a:solidFill>
              </a:rPr>
              <a:t> og 1 kst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1767C8-A779-403C-8363-9EC600D92DB1}"/>
              </a:ext>
            </a:extLst>
          </p:cNvPr>
          <p:cNvSpPr txBox="1"/>
          <p:nvPr/>
        </p:nvSpPr>
        <p:spPr>
          <a:xfrm>
            <a:off x="302703" y="3008975"/>
            <a:ext cx="2453561" cy="578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1 delprosjekt per finansiø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BF412D-2EE0-4D65-9493-2122E5A28852}"/>
              </a:ext>
            </a:extLst>
          </p:cNvPr>
          <p:cNvSpPr txBox="1"/>
          <p:nvPr/>
        </p:nvSpPr>
        <p:spPr>
          <a:xfrm>
            <a:off x="5241501" y="2734045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Mobilise-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09F2C11-67E3-4D8F-92FB-89F712D7EF9B}"/>
              </a:ext>
            </a:extLst>
          </p:cNvPr>
          <p:cNvSpPr txBox="1"/>
          <p:nvPr/>
        </p:nvSpPr>
        <p:spPr>
          <a:xfrm>
            <a:off x="3462600" y="5589396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Algorithm develop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8388BF-2E95-4C89-ABBE-11197FDAE55D}"/>
              </a:ext>
            </a:extLst>
          </p:cNvPr>
          <p:cNvSpPr txBox="1"/>
          <p:nvPr/>
        </p:nvSpPr>
        <p:spPr>
          <a:xfrm>
            <a:off x="5057375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validation of digital mobil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30805-7A7A-47CA-92BE-5E0E01A8ABF3}"/>
              </a:ext>
            </a:extLst>
          </p:cNvPr>
          <p:cNvSpPr txBox="1"/>
          <p:nvPr/>
        </p:nvSpPr>
        <p:spPr>
          <a:xfrm>
            <a:off x="6550760" y="5575217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769C21-5C8A-4318-97E1-D0744297D94B}"/>
              </a:ext>
            </a:extLst>
          </p:cNvPr>
          <p:cNvSpPr txBox="1"/>
          <p:nvPr/>
        </p:nvSpPr>
        <p:spPr>
          <a:xfrm>
            <a:off x="7921796" y="5589396"/>
            <a:ext cx="1066448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79B09E-9E73-4D23-99D6-8B0A3E2E3E69}"/>
              </a:ext>
            </a:extLst>
          </p:cNvPr>
          <p:cNvSpPr/>
          <p:nvPr/>
        </p:nvSpPr>
        <p:spPr>
          <a:xfrm>
            <a:off x="7200588" y="3943294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Finansiør 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3D34F51-FAD8-4AB5-863B-859E1EC13B87}"/>
              </a:ext>
            </a:extLst>
          </p:cNvPr>
          <p:cNvSpPr txBox="1"/>
          <p:nvPr/>
        </p:nvSpPr>
        <p:spPr>
          <a:xfrm>
            <a:off x="7200588" y="4027706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Næringsliv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6A1CDEB-FDB2-41FB-B5BA-05364C807D2A}"/>
              </a:ext>
            </a:extLst>
          </p:cNvPr>
          <p:cNvSpPr/>
          <p:nvPr/>
        </p:nvSpPr>
        <p:spPr>
          <a:xfrm>
            <a:off x="5592049" y="3909570"/>
            <a:ext cx="1265608" cy="107416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ostnads-omveltning</a:t>
            </a:r>
          </a:p>
          <a:p>
            <a:pPr algn="ctr"/>
            <a:endParaRPr lang="nb-NO" sz="1100">
              <a:solidFill>
                <a:schemeClr val="tx1"/>
              </a:solidFill>
            </a:endParaRPr>
          </a:p>
        </p:txBody>
      </p:sp>
      <p:sp>
        <p:nvSpPr>
          <p:cNvPr id="45" name="Arrow: Curved Up 44">
            <a:extLst>
              <a:ext uri="{FF2B5EF4-FFF2-40B4-BE49-F238E27FC236}">
                <a16:creationId xmlns:a16="http://schemas.microsoft.com/office/drawing/2014/main" id="{E7CAFD35-70B2-423C-9D15-9D49E126ED8F}"/>
              </a:ext>
            </a:extLst>
          </p:cNvPr>
          <p:cNvSpPr/>
          <p:nvPr/>
        </p:nvSpPr>
        <p:spPr>
          <a:xfrm flipH="1">
            <a:off x="4822725" y="4860696"/>
            <a:ext cx="1005277" cy="22463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6" name="Arrow: Curved Up 45">
            <a:extLst>
              <a:ext uri="{FF2B5EF4-FFF2-40B4-BE49-F238E27FC236}">
                <a16:creationId xmlns:a16="http://schemas.microsoft.com/office/drawing/2014/main" id="{DAEE5462-6C36-494D-9176-6F10B76C53ED}"/>
              </a:ext>
            </a:extLst>
          </p:cNvPr>
          <p:cNvSpPr/>
          <p:nvPr/>
        </p:nvSpPr>
        <p:spPr>
          <a:xfrm>
            <a:off x="6634962" y="4834090"/>
            <a:ext cx="1005275" cy="26587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9" name="TekstSylinder 66">
            <a:extLst>
              <a:ext uri="{FF2B5EF4-FFF2-40B4-BE49-F238E27FC236}">
                <a16:creationId xmlns:a16="http://schemas.microsoft.com/office/drawing/2014/main" id="{C7606FA9-897F-4BAE-8534-2CD04B545994}"/>
              </a:ext>
            </a:extLst>
          </p:cNvPr>
          <p:cNvSpPr txBox="1"/>
          <p:nvPr/>
        </p:nvSpPr>
        <p:spPr>
          <a:xfrm>
            <a:off x="8599724" y="4572835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Næringsliv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5304E7AC-F410-4FD7-8420-1C7DEFEF63AE}"/>
              </a:ext>
            </a:extLst>
          </p:cNvPr>
          <p:cNvCxnSpPr>
            <a:cxnSpLocks/>
            <a:stCxn id="21" idx="2"/>
            <a:endCxn id="15" idx="0"/>
          </p:cNvCxnSpPr>
          <p:nvPr/>
        </p:nvCxnSpPr>
        <p:spPr>
          <a:xfrm rot="16200000" flipH="1">
            <a:off x="5722156" y="2461105"/>
            <a:ext cx="545877" cy="1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DF1F8BD-A71A-4FAF-8561-6FD98DB1AFA3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5400000">
            <a:off x="4647037" y="2596869"/>
            <a:ext cx="841550" cy="1854566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43F8E980-CD8E-4280-B17C-C70CBDE702D4}"/>
              </a:ext>
            </a:extLst>
          </p:cNvPr>
          <p:cNvCxnSpPr>
            <a:cxnSpLocks/>
            <a:stCxn id="15" idx="2"/>
            <a:endCxn id="22" idx="0"/>
          </p:cNvCxnSpPr>
          <p:nvPr/>
        </p:nvCxnSpPr>
        <p:spPr>
          <a:xfrm rot="16200000" flipH="1">
            <a:off x="6564159" y="2534313"/>
            <a:ext cx="839917" cy="1978044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A47F2A4-37C1-4032-A4F0-77FBF46601C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 rot="5400000">
            <a:off x="3569108" y="5017975"/>
            <a:ext cx="998138" cy="144705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0BBCFDF3-22DE-44C0-B68F-68DC8DBBD80E}"/>
              </a:ext>
            </a:extLst>
          </p:cNvPr>
          <p:cNvCxnSpPr>
            <a:cxnSpLocks/>
            <a:stCxn id="16" idx="2"/>
            <a:endCxn id="18" idx="0"/>
          </p:cNvCxnSpPr>
          <p:nvPr/>
        </p:nvCxnSpPr>
        <p:spPr>
          <a:xfrm rot="16200000" flipH="1">
            <a:off x="4374851" y="4356936"/>
            <a:ext cx="981426" cy="145007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57288DAC-786E-4D89-84E2-6E95C14220AF}"/>
              </a:ext>
            </a:extLst>
          </p:cNvPr>
          <p:cNvCxnSpPr>
            <a:cxnSpLocks/>
            <a:stCxn id="16" idx="2"/>
            <a:endCxn id="19" idx="0"/>
          </p:cNvCxnSpPr>
          <p:nvPr/>
        </p:nvCxnSpPr>
        <p:spPr>
          <a:xfrm rot="16200000" flipH="1">
            <a:off x="5120277" y="3611509"/>
            <a:ext cx="983959" cy="2943455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527D1E8B-5043-4F6C-B263-AE3C1B7D506A}"/>
              </a:ext>
            </a:extLst>
          </p:cNvPr>
          <p:cNvCxnSpPr>
            <a:cxnSpLocks/>
            <a:stCxn id="16" idx="2"/>
            <a:endCxn id="20" idx="0"/>
          </p:cNvCxnSpPr>
          <p:nvPr/>
        </p:nvCxnSpPr>
        <p:spPr>
          <a:xfrm rot="16200000" flipH="1">
            <a:off x="5798705" y="2933081"/>
            <a:ext cx="998138" cy="4314491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F454C111-050C-4B31-A796-B5D9816DCE05}"/>
              </a:ext>
            </a:extLst>
          </p:cNvPr>
          <p:cNvCxnSpPr>
            <a:cxnSpLocks/>
            <a:stCxn id="22" idx="2"/>
            <a:endCxn id="20" idx="3"/>
          </p:cNvCxnSpPr>
          <p:nvPr/>
        </p:nvCxnSpPr>
        <p:spPr>
          <a:xfrm rot="16200000" flipH="1">
            <a:off x="7937899" y="4754494"/>
            <a:ext cx="1085585" cy="1015105"/>
          </a:xfrm>
          <a:prstGeom prst="bentConnector4">
            <a:avLst>
              <a:gd name="adj1" fmla="val 27118"/>
              <a:gd name="adj2" fmla="val 122520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CF3AC9B-3CAC-4046-B561-917E1533FA52}"/>
              </a:ext>
            </a:extLst>
          </p:cNvPr>
          <p:cNvSpPr/>
          <p:nvPr/>
        </p:nvSpPr>
        <p:spPr>
          <a:xfrm>
            <a:off x="3347433" y="3796874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Finansiør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A99C4B-CE6F-47E3-9BFA-2C8B48B84088}"/>
              </a:ext>
            </a:extLst>
          </p:cNvPr>
          <p:cNvSpPr txBox="1"/>
          <p:nvPr/>
        </p:nvSpPr>
        <p:spPr>
          <a:xfrm>
            <a:off x="3360920" y="3944927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</p:txBody>
      </p:sp>
      <p:sp>
        <p:nvSpPr>
          <p:cNvPr id="47" name="TekstSylinder 66">
            <a:extLst>
              <a:ext uri="{FF2B5EF4-FFF2-40B4-BE49-F238E27FC236}">
                <a16:creationId xmlns:a16="http://schemas.microsoft.com/office/drawing/2014/main" id="{C2BB70B5-9865-48D8-8D53-BFCB68F98B49}"/>
              </a:ext>
            </a:extLst>
          </p:cNvPr>
          <p:cNvSpPr txBox="1"/>
          <p:nvPr/>
        </p:nvSpPr>
        <p:spPr>
          <a:xfrm>
            <a:off x="2702408" y="4321821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48" name="TekstSylinder 66">
            <a:extLst>
              <a:ext uri="{FF2B5EF4-FFF2-40B4-BE49-F238E27FC236}">
                <a16:creationId xmlns:a16="http://schemas.microsoft.com/office/drawing/2014/main" id="{0C5D6474-DECE-4484-A2C9-23C0B64B4730}"/>
              </a:ext>
            </a:extLst>
          </p:cNvPr>
          <p:cNvSpPr txBox="1"/>
          <p:nvPr/>
        </p:nvSpPr>
        <p:spPr>
          <a:xfrm>
            <a:off x="2702408" y="4629864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E7FA0D-33B3-4B05-96C3-AEC8B10ABA92}"/>
              </a:ext>
            </a:extLst>
          </p:cNvPr>
          <p:cNvSpPr txBox="1"/>
          <p:nvPr/>
        </p:nvSpPr>
        <p:spPr>
          <a:xfrm>
            <a:off x="5241500" y="1539304"/>
            <a:ext cx="1690084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Hovedprosjekt</a:t>
            </a:r>
          </a:p>
          <a:p>
            <a:pPr algn="ctr"/>
            <a:endParaRPr lang="nb-NO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EC2E8A-87A0-44BA-9121-077A6F3738AE}"/>
              </a:ext>
            </a:extLst>
          </p:cNvPr>
          <p:cNvSpPr txBox="1"/>
          <p:nvPr/>
        </p:nvSpPr>
        <p:spPr>
          <a:xfrm>
            <a:off x="5241500" y="1541837"/>
            <a:ext cx="150718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of mobility</a:t>
            </a:r>
          </a:p>
        </p:txBody>
      </p:sp>
    </p:spTree>
    <p:extLst>
      <p:ext uri="{BB962C8B-B14F-4D97-AF65-F5344CB8AC3E}">
        <p14:creationId xmlns:p14="http://schemas.microsoft.com/office/powerpoint/2010/main" val="2216956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  <p:bldP spid="19" grpId="0" animBg="1"/>
      <p:bldP spid="20" grpId="0" animBg="1"/>
      <p:bldP spid="25" grpId="0" animBg="1"/>
      <p:bldP spid="49" grpId="0" animBg="1"/>
      <p:bldP spid="16" grpId="0" animBg="1"/>
      <p:bldP spid="47" grpId="0" animBg="1"/>
      <p:bldP spid="48" grpId="0" animBg="1"/>
      <p:bldP spid="2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DB7EA-D6B2-4C68-A9AF-19FDB120D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888" y="1800755"/>
            <a:ext cx="4865512" cy="617008"/>
          </a:xfrm>
        </p:spPr>
        <p:txBody>
          <a:bodyPr>
            <a:normAutofit fontScale="90000"/>
          </a:bodyPr>
          <a:lstStyle/>
          <a:p>
            <a:r>
              <a:rPr lang="nb-NO"/>
              <a:t>Prosjektstruktur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364F3FE-CC96-4E29-932D-61A83D9A3F29}"/>
              </a:ext>
            </a:extLst>
          </p:cNvPr>
          <p:cNvSpPr txBox="1">
            <a:spLocks/>
          </p:cNvSpPr>
          <p:nvPr/>
        </p:nvSpPr>
        <p:spPr>
          <a:xfrm>
            <a:off x="6810022" y="1800755"/>
            <a:ext cx="5178778" cy="6170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Finansieringskilde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D9A4E8-D33F-42FB-9AE7-1EA30F7237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700690"/>
              </p:ext>
            </p:extLst>
          </p:nvPr>
        </p:nvGraphicFramePr>
        <p:xfrm>
          <a:off x="270933" y="2496255"/>
          <a:ext cx="4865512" cy="4085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33B9F6D7-3B30-46E4-BCEC-10E756AE37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9434273"/>
              </p:ext>
            </p:extLst>
          </p:nvPr>
        </p:nvGraphicFramePr>
        <p:xfrm>
          <a:off x="6810022" y="2496255"/>
          <a:ext cx="4865512" cy="4085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304EA552-5415-4FD2-85C5-5D378A8F72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84546D4-9D9C-4B4F-A27F-777BB2BEF8B7}"/>
              </a:ext>
            </a:extLst>
          </p:cNvPr>
          <p:cNvSpPr txBox="1">
            <a:spLocks/>
          </p:cNvSpPr>
          <p:nvPr/>
        </p:nvSpPr>
        <p:spPr>
          <a:xfrm>
            <a:off x="1065431" y="33867"/>
            <a:ext cx="10515600" cy="1028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Ulike måter å få oversikt over porteføljen</a:t>
            </a:r>
          </a:p>
        </p:txBody>
      </p:sp>
    </p:spTree>
    <p:extLst>
      <p:ext uri="{BB962C8B-B14F-4D97-AF65-F5344CB8AC3E}">
        <p14:creationId xmlns:p14="http://schemas.microsoft.com/office/powerpoint/2010/main" val="3726777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Graphic spid="8" grpId="0">
        <p:bldAsOne/>
      </p:bldGraphic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7A7D38-2490-4111-90C7-A11A57A56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12390"/>
            <a:ext cx="8575063" cy="42610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15C611-F080-4E66-AE2D-F69AE68215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5BCF2D-4AF2-4A4B-BEF9-2696448F5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8266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Hvordan kan vi bruke dette?</a:t>
            </a:r>
          </a:p>
        </p:txBody>
      </p:sp>
    </p:spTree>
    <p:extLst>
      <p:ext uri="{BB962C8B-B14F-4D97-AF65-F5344CB8AC3E}">
        <p14:creationId xmlns:p14="http://schemas.microsoft.com/office/powerpoint/2010/main" val="20049952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2E52B5-0DAA-4E81-86C4-AC249511B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934717"/>
            <a:ext cx="9525275" cy="40822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5D9DBC-B495-4A0F-8BE5-40250427EF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815933-0523-4002-B11D-6662A51B35AB}"/>
              </a:ext>
            </a:extLst>
          </p:cNvPr>
          <p:cNvSpPr txBox="1">
            <a:spLocks/>
          </p:cNvSpPr>
          <p:nvPr/>
        </p:nvSpPr>
        <p:spPr>
          <a:xfrm>
            <a:off x="838200" y="0"/>
            <a:ext cx="10515600" cy="10287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Hvordan kan vi bruke dette?</a:t>
            </a:r>
          </a:p>
        </p:txBody>
      </p:sp>
    </p:spTree>
    <p:extLst>
      <p:ext uri="{BB962C8B-B14F-4D97-AF65-F5344CB8AC3E}">
        <p14:creationId xmlns:p14="http://schemas.microsoft.com/office/powerpoint/2010/main" val="165370608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18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22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5" y="819015"/>
            <a:ext cx="10310240" cy="1571508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: Prosjektstyring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390523"/>
            <a:ext cx="9748265" cy="3869218"/>
          </a:xfrm>
        </p:spPr>
        <p:txBody>
          <a:bodyPr anchor="t">
            <a:normAutofit fontScale="92500" lnSpcReduction="10000"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2: </a:t>
            </a:r>
            <a:r>
              <a:rPr lang="nb-NO" sz="2400" i="1" dirty="0">
                <a:solidFill>
                  <a:schemeClr val="bg1"/>
                </a:solidFill>
                <a:sym typeface="Wingdings" panose="05000000000000000000" pitchFamily="2" charset="2"/>
              </a:rPr>
              <a:t>Hvordan kan min enhet utnytte økonomimodellen i prosjektstyringen?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Prosjektleder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Rapportering til ekstern finansiør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Oversikt over prosjektporteføljen BOA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Samspill med BFV		</a:t>
            </a:r>
          </a:p>
          <a:p>
            <a:pPr marL="457200" lvl="1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hlinkClick r:id="rId3"/>
              </a:rPr>
              <a:t>Prosjektstyring BOA (padlet.com)</a:t>
            </a:r>
            <a:endParaRPr lang="nb-NO" sz="2400" dirty="0"/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Felles diskusjon med oppsummering fra gruppene. </a:t>
            </a:r>
          </a:p>
        </p:txBody>
      </p:sp>
    </p:spTree>
    <p:extLst>
      <p:ext uri="{BB962C8B-B14F-4D97-AF65-F5344CB8AC3E}">
        <p14:creationId xmlns:p14="http://schemas.microsoft.com/office/powerpoint/2010/main" val="26577977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2BAED89-A0B9-4143-B84F-6EC269F4A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ndre momenter i BOTT økonomimodel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05007C-5959-42BC-B40A-E1E930FB1B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Leiested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vregningsprosjek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vskrivinger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ellesprosjekt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6487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innhold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Da leiested og TDI-modellen ble etablert, ble definisjonen av leiested tolket forskjellig ved NTNU. Definisjonen er presisert, se punkt under:</a:t>
            </a:r>
          </a:p>
        </p:txBody>
      </p:sp>
      <p:pic>
        <p:nvPicPr>
          <p:cNvPr id="11" name="Bilde 10"/>
          <p:cNvPicPr/>
          <p:nvPr/>
        </p:nvPicPr>
        <p:blipFill>
          <a:blip r:embed="rId2"/>
          <a:stretch>
            <a:fillRect/>
          </a:stretch>
        </p:blipFill>
        <p:spPr>
          <a:xfrm>
            <a:off x="748815" y="3252884"/>
            <a:ext cx="10652100" cy="26755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3FB021-FDE8-46FC-9B89-6276CBA5DE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4" y="-5584975"/>
            <a:ext cx="1028701" cy="12198651"/>
          </a:xfrm>
          <a:prstGeom prst="rect">
            <a:avLst/>
          </a:prstGeom>
        </p:spPr>
      </p:pic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86933" y="169333"/>
            <a:ext cx="10339910" cy="859368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Leiested - definisjon</a:t>
            </a:r>
          </a:p>
        </p:txBody>
      </p:sp>
    </p:spTree>
    <p:extLst>
      <p:ext uri="{BB962C8B-B14F-4D97-AF65-F5344CB8AC3E}">
        <p14:creationId xmlns:p14="http://schemas.microsoft.com/office/powerpoint/2010/main" val="27996857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349B4B-DB5F-4C36-A1CC-E08CF26E2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Definisjon BOTT økonomimode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D670F-6302-4AE8-ABDC-CAED5DDF8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8393" y="841247"/>
            <a:ext cx="8491681" cy="512064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nb-NO" i="1">
                <a:solidFill>
                  <a:schemeClr val="tx2"/>
                </a:solidFill>
              </a:rPr>
              <a:t>«Økonomimodellen er et rammeverk for å ivareta virksomhetenes samlede økonomiske styringsbehov. Den gir strukturert informasjon om virksomheten og skal ivareta informasjon som kreves for at BOTT skal kunne rapportere i henhold til identifiserte behov både fra interne og eksterne interessenter.»</a:t>
            </a:r>
            <a:r>
              <a:rPr lang="nb-NO">
                <a:solidFill>
                  <a:schemeClr val="tx2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8270957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Leiested bør være eget koststed for å kunne synliggjøre inntekter og kostnader for leiestedet</a:t>
            </a:r>
          </a:p>
          <a:p>
            <a:r>
              <a:rPr lang="nb-NO"/>
              <a:t>Prosjektstrukturen brukes til å gruppere kostnader og inntekter på hvert instrument dersom dette er ønskelig</a:t>
            </a:r>
          </a:p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17069C-1AF0-4E2E-8928-C65E19DB2B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4975" y="-5584975"/>
            <a:ext cx="1028701" cy="12198651"/>
          </a:xfrm>
          <a:prstGeom prst="rect">
            <a:avLst/>
          </a:prstGeom>
        </p:spPr>
      </p:pic>
      <p:sp>
        <p:nvSpPr>
          <p:cNvPr id="5" name="Tittel 3">
            <a:extLst>
              <a:ext uri="{FF2B5EF4-FFF2-40B4-BE49-F238E27FC236}">
                <a16:creationId xmlns:a16="http://schemas.microsoft.com/office/drawing/2014/main" id="{36781D80-9225-4863-9643-48DFD5589D97}"/>
              </a:ext>
            </a:extLst>
          </p:cNvPr>
          <p:cNvSpPr txBox="1">
            <a:spLocks/>
          </p:cNvSpPr>
          <p:nvPr/>
        </p:nvSpPr>
        <p:spPr>
          <a:xfrm>
            <a:off x="1286933" y="169333"/>
            <a:ext cx="10339910" cy="703912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Leiested som koststed</a:t>
            </a:r>
          </a:p>
        </p:txBody>
      </p:sp>
    </p:spTree>
    <p:extLst>
      <p:ext uri="{BB962C8B-B14F-4D97-AF65-F5344CB8AC3E}">
        <p14:creationId xmlns:p14="http://schemas.microsoft.com/office/powerpoint/2010/main" val="109355266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6C814-64E8-4B41-BAA4-60D24C56B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fontAlgn="base"/>
            <a:r>
              <a:rPr lang="nb-NO" b="1"/>
              <a:t>Avskrivinger på investeringer: </a:t>
            </a:r>
            <a:r>
              <a:rPr lang="nb-NO"/>
              <a:t>Avskrivningene vil nå bli synliggjort for hver investering på koststedet som investeringen er kontert på.</a:t>
            </a:r>
          </a:p>
          <a:p>
            <a:pPr lvl="1" fontAlgn="base"/>
            <a:r>
              <a:rPr lang="nb-NO"/>
              <a:t>Det vil medføre at enhetene får en bedre oversikt over behovet for reinvesteringer og kan ha et grunnlag for å utarbeide planer for det. </a:t>
            </a:r>
          </a:p>
          <a:p>
            <a:pPr lvl="1" fontAlgn="base"/>
            <a:r>
              <a:rPr lang="nb-NO"/>
              <a:t>Arbeid med anlegg og anleggsregister blir gjort senere i høst</a:t>
            </a:r>
          </a:p>
          <a:p>
            <a:pPr fontAlgn="base"/>
            <a:r>
              <a:rPr lang="nb-NO" b="1"/>
              <a:t>Avregningsprosjekt: </a:t>
            </a:r>
            <a:r>
              <a:rPr lang="nb-NO"/>
              <a:t>Ett felles avregningsdelprosjekt for hele NTNU. </a:t>
            </a:r>
          </a:p>
          <a:p>
            <a:pPr lvl="1" fontAlgn="base"/>
            <a:r>
              <a:rPr lang="nb-NO"/>
              <a:t>Det vil være koststedet sammen med avregningsdelprosjektet som gir oversikt over enhetens saldo på avregningsprosjektet. </a:t>
            </a:r>
          </a:p>
          <a:p>
            <a:pPr fontAlgn="base"/>
            <a:r>
              <a:rPr lang="nb-NO" b="1"/>
              <a:t>Fellesprosjekt: </a:t>
            </a:r>
            <a:r>
              <a:rPr lang="nb-NO"/>
              <a:t>Dagens fellesprosjekt, også kalt 00-prosjektet (prosjekt 00000000), vil i det nye systemet få et annet nummer </a:t>
            </a:r>
          </a:p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C33218-AB15-4EB0-8A24-AF7B363B75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4975" y="-5584975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687EBF-0D56-4512-883F-235BD2CC5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28700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Andre endringer</a:t>
            </a:r>
          </a:p>
        </p:txBody>
      </p:sp>
    </p:spTree>
    <p:extLst>
      <p:ext uri="{BB962C8B-B14F-4D97-AF65-F5344CB8AC3E}">
        <p14:creationId xmlns:p14="http://schemas.microsoft.com/office/powerpoint/2010/main" val="2199471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18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37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22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40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26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43" name="Freeform: Shape 27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4" name="Freeform: Shape 28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5" name="Freeform: Shape 29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5" y="819015"/>
            <a:ext cx="5501548" cy="1409835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620883"/>
            <a:ext cx="9288009" cy="3394785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3: </a:t>
            </a:r>
            <a:r>
              <a:rPr lang="nb-NO" sz="2400" i="1" dirty="0">
                <a:solidFill>
                  <a:schemeClr val="bg1"/>
                </a:solidFill>
                <a:sym typeface="Wingdings" panose="05000000000000000000" pitchFamily="2" charset="2"/>
              </a:rPr>
              <a:t>Hvilke spørsmål sitter jeg igjen med nå?</a:t>
            </a: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  <a:hlinkClick r:id="rId2"/>
              </a:rPr>
              <a:t>https://padlet.com/annetteyludvigsen/4muuowceneex3s2f</a:t>
            </a:r>
            <a:r>
              <a:rPr lang="nb-NO" sz="2400" dirty="0">
                <a:solidFill>
                  <a:schemeClr val="bg1"/>
                </a:solidFill>
              </a:rPr>
              <a:t> 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Svar på spørsmål i plenum.</a:t>
            </a:r>
          </a:p>
        </p:txBody>
      </p:sp>
    </p:spTree>
    <p:extLst>
      <p:ext uri="{BB962C8B-B14F-4D97-AF65-F5344CB8AC3E}">
        <p14:creationId xmlns:p14="http://schemas.microsoft.com/office/powerpoint/2010/main" val="14264433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Rett linje 51"/>
          <p:cNvCxnSpPr/>
          <p:nvPr/>
        </p:nvCxnSpPr>
        <p:spPr>
          <a:xfrm>
            <a:off x="9250690" y="1384751"/>
            <a:ext cx="161" cy="540933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ett linje 53"/>
          <p:cNvCxnSpPr/>
          <p:nvPr/>
        </p:nvCxnSpPr>
        <p:spPr>
          <a:xfrm>
            <a:off x="2614524" y="1364509"/>
            <a:ext cx="161" cy="54093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ett linje 54"/>
          <p:cNvCxnSpPr/>
          <p:nvPr/>
        </p:nvCxnSpPr>
        <p:spPr>
          <a:xfrm>
            <a:off x="4669275" y="1334244"/>
            <a:ext cx="161" cy="5409338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ett linje 55"/>
          <p:cNvCxnSpPr/>
          <p:nvPr/>
        </p:nvCxnSpPr>
        <p:spPr>
          <a:xfrm>
            <a:off x="6944709" y="1357004"/>
            <a:ext cx="161" cy="540933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ett linje 57"/>
          <p:cNvCxnSpPr/>
          <p:nvPr/>
        </p:nvCxnSpPr>
        <p:spPr>
          <a:xfrm>
            <a:off x="11961089" y="1335300"/>
            <a:ext cx="161" cy="5409338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566CF7BB-10BC-AD4D-A83D-09E2CE2A646B}"/>
              </a:ext>
            </a:extLst>
          </p:cNvPr>
          <p:cNvSpPr txBox="1"/>
          <p:nvPr/>
        </p:nvSpPr>
        <p:spPr>
          <a:xfrm>
            <a:off x="967059" y="-51609"/>
            <a:ext cx="1025793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000" b="1" err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Fase</a:t>
            </a:r>
            <a:r>
              <a:rPr lang="en-US" sz="3000" b="1">
                <a:solidFill>
                  <a:schemeClr val="tx2"/>
                </a:solidFill>
                <a:latin typeface="Poppins" pitchFamily="2" charset="77"/>
                <a:cs typeface="Poppins" pitchFamily="2" charset="77"/>
              </a:rPr>
              <a:t> 2: TRINNVIS INNFØRING BOTT ØKONOMIMODELL</a:t>
            </a:r>
          </a:p>
        </p:txBody>
      </p:sp>
      <p:sp>
        <p:nvSpPr>
          <p:cNvPr id="5" name="Freeform 3">
            <a:extLst>
              <a:ext uri="{FF2B5EF4-FFF2-40B4-BE49-F238E27FC236}">
                <a16:creationId xmlns:a16="http://schemas.microsoft.com/office/drawing/2014/main" id="{40752904-C967-3E42-A16B-9B8439A29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160" y="495707"/>
            <a:ext cx="1186621" cy="1354176"/>
          </a:xfrm>
          <a:custGeom>
            <a:avLst/>
            <a:gdLst>
              <a:gd name="T0" fmla="*/ 339 w 1903"/>
              <a:gd name="T1" fmla="*/ 338 h 2176"/>
              <a:gd name="T2" fmla="*/ 339 w 1903"/>
              <a:gd name="T3" fmla="*/ 338 h 2176"/>
              <a:gd name="T4" fmla="*/ 1564 w 1903"/>
              <a:gd name="T5" fmla="*/ 338 h 2176"/>
              <a:gd name="T6" fmla="*/ 1564 w 1903"/>
              <a:gd name="T7" fmla="*/ 338 h 2176"/>
              <a:gd name="T8" fmla="*/ 1564 w 1903"/>
              <a:gd name="T9" fmla="*/ 1562 h 2176"/>
              <a:gd name="T10" fmla="*/ 951 w 1903"/>
              <a:gd name="T11" fmla="*/ 2175 h 2176"/>
              <a:gd name="T12" fmla="*/ 339 w 1903"/>
              <a:gd name="T13" fmla="*/ 1562 h 2176"/>
              <a:gd name="T14" fmla="*/ 339 w 1903"/>
              <a:gd name="T15" fmla="*/ 1562 h 2176"/>
              <a:gd name="T16" fmla="*/ 339 w 1903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3" h="2176">
                <a:moveTo>
                  <a:pt x="339" y="338"/>
                </a:moveTo>
                <a:lnTo>
                  <a:pt x="339" y="338"/>
                </a:lnTo>
                <a:cubicBezTo>
                  <a:pt x="677" y="0"/>
                  <a:pt x="1225" y="0"/>
                  <a:pt x="1564" y="338"/>
                </a:cubicBezTo>
                <a:lnTo>
                  <a:pt x="1564" y="338"/>
                </a:lnTo>
                <a:cubicBezTo>
                  <a:pt x="1902" y="676"/>
                  <a:pt x="1902" y="1224"/>
                  <a:pt x="1564" y="1562"/>
                </a:cubicBezTo>
                <a:lnTo>
                  <a:pt x="951" y="2175"/>
                </a:lnTo>
                <a:lnTo>
                  <a:pt x="339" y="1562"/>
                </a:lnTo>
                <a:lnTo>
                  <a:pt x="339" y="1562"/>
                </a:lnTo>
                <a:cubicBezTo>
                  <a:pt x="0" y="1224"/>
                  <a:pt x="0" y="676"/>
                  <a:pt x="339" y="33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7" name="Freeform 71">
            <a:extLst>
              <a:ext uri="{FF2B5EF4-FFF2-40B4-BE49-F238E27FC236}">
                <a16:creationId xmlns:a16="http://schemas.microsoft.com/office/drawing/2014/main" id="{293D606E-0CB6-0040-B8DD-4AC30C160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8910" y="495707"/>
            <a:ext cx="1186621" cy="1354176"/>
          </a:xfrm>
          <a:custGeom>
            <a:avLst/>
            <a:gdLst>
              <a:gd name="T0" fmla="*/ 338 w 1903"/>
              <a:gd name="T1" fmla="*/ 338 h 2176"/>
              <a:gd name="T2" fmla="*/ 338 w 1903"/>
              <a:gd name="T3" fmla="*/ 338 h 2176"/>
              <a:gd name="T4" fmla="*/ 1564 w 1903"/>
              <a:gd name="T5" fmla="*/ 338 h 2176"/>
              <a:gd name="T6" fmla="*/ 1564 w 1903"/>
              <a:gd name="T7" fmla="*/ 338 h 2176"/>
              <a:gd name="T8" fmla="*/ 1564 w 1903"/>
              <a:gd name="T9" fmla="*/ 1562 h 2176"/>
              <a:gd name="T10" fmla="*/ 951 w 1903"/>
              <a:gd name="T11" fmla="*/ 2175 h 2176"/>
              <a:gd name="T12" fmla="*/ 338 w 1903"/>
              <a:gd name="T13" fmla="*/ 1562 h 2176"/>
              <a:gd name="T14" fmla="*/ 338 w 1903"/>
              <a:gd name="T15" fmla="*/ 1562 h 2176"/>
              <a:gd name="T16" fmla="*/ 338 w 1903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3" h="2176">
                <a:moveTo>
                  <a:pt x="338" y="338"/>
                </a:moveTo>
                <a:lnTo>
                  <a:pt x="338" y="338"/>
                </a:lnTo>
                <a:cubicBezTo>
                  <a:pt x="677" y="0"/>
                  <a:pt x="1226" y="0"/>
                  <a:pt x="1564" y="338"/>
                </a:cubicBezTo>
                <a:lnTo>
                  <a:pt x="1564" y="338"/>
                </a:lnTo>
                <a:cubicBezTo>
                  <a:pt x="1902" y="676"/>
                  <a:pt x="1902" y="1224"/>
                  <a:pt x="1564" y="1562"/>
                </a:cubicBezTo>
                <a:lnTo>
                  <a:pt x="951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9" name="Freeform 139">
            <a:extLst>
              <a:ext uri="{FF2B5EF4-FFF2-40B4-BE49-F238E27FC236}">
                <a16:creationId xmlns:a16="http://schemas.microsoft.com/office/drawing/2014/main" id="{2ED9781A-3652-6948-A67B-E371D6404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1515" y="495707"/>
            <a:ext cx="1183874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4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11" name="Freeform 207">
            <a:extLst>
              <a:ext uri="{FF2B5EF4-FFF2-40B4-BE49-F238E27FC236}">
                <a16:creationId xmlns:a16="http://schemas.microsoft.com/office/drawing/2014/main" id="{1B71C3A1-0776-F546-B89C-F13C50B17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4386" y="495707"/>
            <a:ext cx="1183876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5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17" name="Freeform 207">
            <a:extLst>
              <a:ext uri="{FF2B5EF4-FFF2-40B4-BE49-F238E27FC236}">
                <a16:creationId xmlns:a16="http://schemas.microsoft.com/office/drawing/2014/main" id="{841F330F-BC36-594C-8AF2-CD8C766A8A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14965" y="554230"/>
            <a:ext cx="1183876" cy="1354176"/>
          </a:xfrm>
          <a:custGeom>
            <a:avLst/>
            <a:gdLst>
              <a:gd name="T0" fmla="*/ 338 w 1902"/>
              <a:gd name="T1" fmla="*/ 338 h 2176"/>
              <a:gd name="T2" fmla="*/ 338 w 1902"/>
              <a:gd name="T3" fmla="*/ 338 h 2176"/>
              <a:gd name="T4" fmla="*/ 1563 w 1902"/>
              <a:gd name="T5" fmla="*/ 338 h 2176"/>
              <a:gd name="T6" fmla="*/ 1563 w 1902"/>
              <a:gd name="T7" fmla="*/ 338 h 2176"/>
              <a:gd name="T8" fmla="*/ 1563 w 1902"/>
              <a:gd name="T9" fmla="*/ 1562 h 2176"/>
              <a:gd name="T10" fmla="*/ 950 w 1902"/>
              <a:gd name="T11" fmla="*/ 2175 h 2176"/>
              <a:gd name="T12" fmla="*/ 338 w 1902"/>
              <a:gd name="T13" fmla="*/ 1562 h 2176"/>
              <a:gd name="T14" fmla="*/ 338 w 1902"/>
              <a:gd name="T15" fmla="*/ 1562 h 2176"/>
              <a:gd name="T16" fmla="*/ 338 w 1902"/>
              <a:gd name="T17" fmla="*/ 338 h 2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902" h="2176">
                <a:moveTo>
                  <a:pt x="338" y="338"/>
                </a:moveTo>
                <a:lnTo>
                  <a:pt x="338" y="338"/>
                </a:lnTo>
                <a:cubicBezTo>
                  <a:pt x="676" y="0"/>
                  <a:pt x="1225" y="0"/>
                  <a:pt x="1563" y="338"/>
                </a:cubicBezTo>
                <a:lnTo>
                  <a:pt x="1563" y="338"/>
                </a:lnTo>
                <a:cubicBezTo>
                  <a:pt x="1901" y="676"/>
                  <a:pt x="1901" y="1224"/>
                  <a:pt x="1563" y="1562"/>
                </a:cubicBezTo>
                <a:lnTo>
                  <a:pt x="950" y="2175"/>
                </a:lnTo>
                <a:lnTo>
                  <a:pt x="338" y="1562"/>
                </a:lnTo>
                <a:lnTo>
                  <a:pt x="338" y="1562"/>
                </a:lnTo>
                <a:cubicBezTo>
                  <a:pt x="0" y="1224"/>
                  <a:pt x="0" y="676"/>
                  <a:pt x="338" y="338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3265">
              <a:latin typeface="Lato Light" panose="020F050202020403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F9B096-0F05-D148-ABFA-CA1C8550BBB0}"/>
              </a:ext>
            </a:extLst>
          </p:cNvPr>
          <p:cNvSpPr txBox="1"/>
          <p:nvPr/>
        </p:nvSpPr>
        <p:spPr>
          <a:xfrm>
            <a:off x="4764584" y="2888928"/>
            <a:ext cx="2092239" cy="1061829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3</a:t>
            </a:r>
          </a:p>
          <a:p>
            <a:pPr algn="ctr"/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er</a:t>
            </a: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: </a:t>
            </a:r>
            <a:b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: 20.9 BOA: 20.10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lle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ksisterende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sjek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å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 og BOA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onvertert</a:t>
            </a:r>
            <a:endParaRPr lang="en-US" sz="100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2B861B-385A-B74B-A10D-E9FECEF727ED}"/>
              </a:ext>
            </a:extLst>
          </p:cNvPr>
          <p:cNvSpPr txBox="1"/>
          <p:nvPr/>
        </p:nvSpPr>
        <p:spPr>
          <a:xfrm>
            <a:off x="7239593" y="2846125"/>
            <a:ext cx="1887055" cy="90024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4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</a:t>
            </a:r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kke</a:t>
            </a:r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200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astsatt</a:t>
            </a:r>
            <a:endParaRPr lang="en-US" sz="1200" b="1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Årsbudsjet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BFV for 2022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lever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i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ny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økonomimodell</a:t>
            </a:r>
            <a:endParaRPr lang="en-US" sz="105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8CFBF5B3-DAEC-1045-9BB1-975FE7F18B24}"/>
              </a:ext>
            </a:extLst>
          </p:cNvPr>
          <p:cNvSpPr txBox="1">
            <a:spLocks/>
          </p:cNvSpPr>
          <p:nvPr/>
        </p:nvSpPr>
        <p:spPr>
          <a:xfrm>
            <a:off x="762000" y="2043620"/>
            <a:ext cx="1648939" cy="474617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OPPLÆRING I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ØKONOMIMODEL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37C0503D-3C1B-0F4A-9873-D6364FA07F88}"/>
              </a:ext>
            </a:extLst>
          </p:cNvPr>
          <p:cNvSpPr txBox="1">
            <a:spLocks/>
          </p:cNvSpPr>
          <p:nvPr/>
        </p:nvSpPr>
        <p:spPr>
          <a:xfrm>
            <a:off x="2851854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BESTEMME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PROSJEKTSTRUKTUR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 FOR ØKONOMISTYRING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E689D179-5AAC-FE47-8295-6612534147D0}"/>
              </a:ext>
            </a:extLst>
          </p:cNvPr>
          <p:cNvSpPr txBox="1">
            <a:spLocks/>
          </p:cNvSpPr>
          <p:nvPr/>
        </p:nvSpPr>
        <p:spPr>
          <a:xfrm>
            <a:off x="4986237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KONVERTERING AV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EKSISTERENDE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PROSJEKTER</a:t>
            </a: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C018CE84-EB17-DE42-BF78-9BE2513687D9}"/>
              </a:ext>
            </a:extLst>
          </p:cNvPr>
          <p:cNvSpPr txBox="1">
            <a:spLocks/>
          </p:cNvSpPr>
          <p:nvPr/>
        </p:nvSpPr>
        <p:spPr>
          <a:xfrm>
            <a:off x="7191853" y="1932821"/>
            <a:ext cx="1648939" cy="696216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LEGGE BUDSJETT MED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NY ØKONOMIMODELL </a:t>
            </a:r>
            <a:b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I BEVISST PLAN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959BA52F-5E97-4749-BDB8-176FB9BD5FA3}"/>
              </a:ext>
            </a:extLst>
          </p:cNvPr>
          <p:cNvSpPr txBox="1">
            <a:spLocks/>
          </p:cNvSpPr>
          <p:nvPr/>
        </p:nvSpPr>
        <p:spPr>
          <a:xfrm>
            <a:off x="9781061" y="1870048"/>
            <a:ext cx="1733277" cy="821763"/>
          </a:xfrm>
          <a:prstGeom prst="rect">
            <a:avLst/>
          </a:prstGeom>
        </p:spPr>
        <p:txBody>
          <a:bodyPr vert="horz" wrap="square" lIns="45720" tIns="22860" rIns="45720" bIns="22860" rtlCol="0" anchor="ctr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BUDSJETT OG REGNSKAP </a:t>
            </a:r>
          </a:p>
          <a:p>
            <a:pPr>
              <a:lnSpc>
                <a:spcPct val="100000"/>
              </a:lnSpc>
            </a:pPr>
            <a:r>
              <a:rPr lang="en-US" sz="1200" b="1">
                <a:latin typeface="Poppins" pitchFamily="2" charset="77"/>
                <a:ea typeface="League Spartan" charset="0"/>
                <a:cs typeface="Poppins" pitchFamily="2" charset="77"/>
              </a:rPr>
              <a:t>I BEVISST INNSIKT OG PLAN MED NY ØKONOMIMODELL</a:t>
            </a:r>
          </a:p>
        </p:txBody>
      </p:sp>
      <p:sp>
        <p:nvSpPr>
          <p:cNvPr id="28" name="Freeform 1053">
            <a:extLst>
              <a:ext uri="{FF2B5EF4-FFF2-40B4-BE49-F238E27FC236}">
                <a16:creationId xmlns:a16="http://schemas.microsoft.com/office/drawing/2014/main" id="{AA88CB9A-FA38-2048-8473-3A066EABBF4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3591" y="863704"/>
            <a:ext cx="525463" cy="527050"/>
          </a:xfrm>
          <a:custGeom>
            <a:avLst/>
            <a:gdLst>
              <a:gd name="T0" fmla="*/ 50512908 w 290150"/>
              <a:gd name="T1" fmla="*/ 112216769 h 290153"/>
              <a:gd name="T2" fmla="*/ 71643929 w 290150"/>
              <a:gd name="T3" fmla="*/ 112216769 h 290153"/>
              <a:gd name="T4" fmla="*/ 72851536 w 290150"/>
              <a:gd name="T5" fmla="*/ 104874323 h 290153"/>
              <a:gd name="T6" fmla="*/ 73303909 w 290150"/>
              <a:gd name="T7" fmla="*/ 125807186 h 290153"/>
              <a:gd name="T8" fmla="*/ 47041501 w 290150"/>
              <a:gd name="T9" fmla="*/ 112216769 h 290153"/>
              <a:gd name="T10" fmla="*/ 60928191 w 290150"/>
              <a:gd name="T11" fmla="*/ 92618361 h 290153"/>
              <a:gd name="T12" fmla="*/ 65299099 w 290150"/>
              <a:gd name="T13" fmla="*/ 96900809 h 290153"/>
              <a:gd name="T14" fmla="*/ 69067784 w 290150"/>
              <a:gd name="T15" fmla="*/ 96900809 h 290153"/>
              <a:gd name="T16" fmla="*/ 60928191 w 290150"/>
              <a:gd name="T17" fmla="*/ 88794158 h 290153"/>
              <a:gd name="T18" fmla="*/ 97925242 w 290150"/>
              <a:gd name="T19" fmla="*/ 95540301 h 290153"/>
              <a:gd name="T20" fmla="*/ 119137542 w 290150"/>
              <a:gd name="T21" fmla="*/ 95540301 h 290153"/>
              <a:gd name="T22" fmla="*/ 120521184 w 290150"/>
              <a:gd name="T23" fmla="*/ 88354753 h 290153"/>
              <a:gd name="T24" fmla="*/ 120982084 w 290150"/>
              <a:gd name="T25" fmla="*/ 109287812 h 290153"/>
              <a:gd name="T26" fmla="*/ 94083017 w 290150"/>
              <a:gd name="T27" fmla="*/ 95540301 h 290153"/>
              <a:gd name="T28" fmla="*/ 5225161 w 290150"/>
              <a:gd name="T29" fmla="*/ 88198331 h 290153"/>
              <a:gd name="T30" fmla="*/ 3841671 w 290150"/>
              <a:gd name="T31" fmla="*/ 105538387 h 290153"/>
              <a:gd name="T32" fmla="*/ 23210418 w 290150"/>
              <a:gd name="T33" fmla="*/ 90854292 h 290153"/>
              <a:gd name="T34" fmla="*/ 28743105 w 290150"/>
              <a:gd name="T35" fmla="*/ 95540301 h 290153"/>
              <a:gd name="T36" fmla="*/ 1843151 w 290150"/>
              <a:gd name="T37" fmla="*/ 109287812 h 290153"/>
              <a:gd name="T38" fmla="*/ 2613370 w 290150"/>
              <a:gd name="T39" fmla="*/ 88354753 h 290153"/>
              <a:gd name="T40" fmla="*/ 103749164 w 290150"/>
              <a:gd name="T41" fmla="*/ 80534003 h 290153"/>
              <a:gd name="T42" fmla="*/ 108120542 w 290150"/>
              <a:gd name="T43" fmla="*/ 76170591 h 290153"/>
              <a:gd name="T44" fmla="*/ 14113170 w 290150"/>
              <a:gd name="T45" fmla="*/ 84897974 h 290153"/>
              <a:gd name="T46" fmla="*/ 108120542 w 290150"/>
              <a:gd name="T47" fmla="*/ 72274450 h 290153"/>
              <a:gd name="T48" fmla="*/ 100131720 w 290150"/>
              <a:gd name="T49" fmla="*/ 80534003 h 290153"/>
              <a:gd name="T50" fmla="*/ 22026811 w 290150"/>
              <a:gd name="T51" fmla="*/ 80534003 h 290153"/>
              <a:gd name="T52" fmla="*/ 14113170 w 290150"/>
              <a:gd name="T53" fmla="*/ 72274450 h 290153"/>
              <a:gd name="T54" fmla="*/ 63008703 w 290150"/>
              <a:gd name="T55" fmla="*/ 80412125 h 290153"/>
              <a:gd name="T56" fmla="*/ 59137589 w 290150"/>
              <a:gd name="T57" fmla="*/ 62603942 h 290153"/>
              <a:gd name="T58" fmla="*/ 80256690 w 290150"/>
              <a:gd name="T59" fmla="*/ 57099948 h 290153"/>
              <a:gd name="T60" fmla="*/ 93931211 w 290150"/>
              <a:gd name="T61" fmla="*/ 80409045 h 290153"/>
              <a:gd name="T62" fmla="*/ 76610144 w 290150"/>
              <a:gd name="T63" fmla="*/ 80409045 h 290153"/>
              <a:gd name="T64" fmla="*/ 43722759 w 290150"/>
              <a:gd name="T65" fmla="*/ 55066252 h 290153"/>
              <a:gd name="T66" fmla="*/ 43722759 w 290150"/>
              <a:gd name="T67" fmla="*/ 82442127 h 290153"/>
              <a:gd name="T68" fmla="*/ 30048198 w 290150"/>
              <a:gd name="T69" fmla="*/ 78531644 h 290153"/>
              <a:gd name="T70" fmla="*/ 43722759 w 290150"/>
              <a:gd name="T71" fmla="*/ 55066252 h 290153"/>
              <a:gd name="T72" fmla="*/ 63252607 w 290150"/>
              <a:gd name="T73" fmla="*/ 25159684 h 290153"/>
              <a:gd name="T74" fmla="*/ 72601980 w 290150"/>
              <a:gd name="T75" fmla="*/ 29060761 h 290153"/>
              <a:gd name="T76" fmla="*/ 61566426 w 290150"/>
              <a:gd name="T77" fmla="*/ 40455101 h 290153"/>
              <a:gd name="T78" fmla="*/ 50225094 w 290150"/>
              <a:gd name="T79" fmla="*/ 29060761 h 290153"/>
              <a:gd name="T80" fmla="*/ 59574112 w 290150"/>
              <a:gd name="T81" fmla="*/ 25159684 h 290153"/>
              <a:gd name="T82" fmla="*/ 61230865 w 290150"/>
              <a:gd name="T83" fmla="*/ 3765819 h 290153"/>
              <a:gd name="T84" fmla="*/ 84052482 w 290150"/>
              <a:gd name="T85" fmla="*/ 27296629 h 290153"/>
              <a:gd name="T86" fmla="*/ 87881874 w 290150"/>
              <a:gd name="T87" fmla="*/ 27296629 h 290153"/>
              <a:gd name="T88" fmla="*/ 61230865 w 290150"/>
              <a:gd name="T89" fmla="*/ 0 h 29015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90150" h="290153">
                <a:moveTo>
                  <a:pt x="122891" y="241515"/>
                </a:moveTo>
                <a:cubicBezTo>
                  <a:pt x="124674" y="242596"/>
                  <a:pt x="125030" y="245478"/>
                  <a:pt x="123604" y="247639"/>
                </a:cubicBezTo>
                <a:cubicBezTo>
                  <a:pt x="121108" y="250882"/>
                  <a:pt x="119325" y="254485"/>
                  <a:pt x="119325" y="258808"/>
                </a:cubicBezTo>
                <a:lnTo>
                  <a:pt x="119325" y="281506"/>
                </a:lnTo>
                <a:lnTo>
                  <a:pt x="169243" y="281506"/>
                </a:lnTo>
                <a:lnTo>
                  <a:pt x="169243" y="258808"/>
                </a:lnTo>
                <a:cubicBezTo>
                  <a:pt x="169243" y="254485"/>
                  <a:pt x="167460" y="250882"/>
                  <a:pt x="164964" y="247639"/>
                </a:cubicBezTo>
                <a:cubicBezTo>
                  <a:pt x="163538" y="245478"/>
                  <a:pt x="163894" y="242596"/>
                  <a:pt x="166034" y="241515"/>
                </a:cubicBezTo>
                <a:cubicBezTo>
                  <a:pt x="167460" y="239713"/>
                  <a:pt x="170312" y="239713"/>
                  <a:pt x="172095" y="241875"/>
                </a:cubicBezTo>
                <a:cubicBezTo>
                  <a:pt x="175660" y="246919"/>
                  <a:pt x="177443" y="252683"/>
                  <a:pt x="177443" y="258808"/>
                </a:cubicBezTo>
                <a:lnTo>
                  <a:pt x="177443" y="285469"/>
                </a:lnTo>
                <a:cubicBezTo>
                  <a:pt x="177443" y="288352"/>
                  <a:pt x="175660" y="290153"/>
                  <a:pt x="173165" y="290153"/>
                </a:cubicBezTo>
                <a:lnTo>
                  <a:pt x="115047" y="290153"/>
                </a:lnTo>
                <a:cubicBezTo>
                  <a:pt x="112908" y="290153"/>
                  <a:pt x="111125" y="288352"/>
                  <a:pt x="111125" y="285469"/>
                </a:cubicBezTo>
                <a:lnTo>
                  <a:pt x="111125" y="258808"/>
                </a:lnTo>
                <a:cubicBezTo>
                  <a:pt x="111125" y="252683"/>
                  <a:pt x="112908" y="246919"/>
                  <a:pt x="116830" y="241875"/>
                </a:cubicBezTo>
                <a:cubicBezTo>
                  <a:pt x="118256" y="239713"/>
                  <a:pt x="121108" y="239713"/>
                  <a:pt x="122891" y="241515"/>
                </a:cubicBezTo>
                <a:close/>
                <a:moveTo>
                  <a:pt x="143929" y="213608"/>
                </a:moveTo>
                <a:cubicBezTo>
                  <a:pt x="138944" y="213608"/>
                  <a:pt x="134315" y="218194"/>
                  <a:pt x="134315" y="223485"/>
                </a:cubicBezTo>
                <a:cubicBezTo>
                  <a:pt x="134315" y="229483"/>
                  <a:pt x="138944" y="234069"/>
                  <a:pt x="143929" y="234069"/>
                </a:cubicBezTo>
                <a:cubicBezTo>
                  <a:pt x="149626" y="234069"/>
                  <a:pt x="154255" y="229483"/>
                  <a:pt x="154255" y="223485"/>
                </a:cubicBezTo>
                <a:cubicBezTo>
                  <a:pt x="154255" y="218194"/>
                  <a:pt x="149626" y="213608"/>
                  <a:pt x="143929" y="213608"/>
                </a:cubicBezTo>
                <a:close/>
                <a:moveTo>
                  <a:pt x="143929" y="204788"/>
                </a:moveTo>
                <a:cubicBezTo>
                  <a:pt x="154611" y="204788"/>
                  <a:pt x="163157" y="213608"/>
                  <a:pt x="163157" y="223485"/>
                </a:cubicBezTo>
                <a:cubicBezTo>
                  <a:pt x="163157" y="234069"/>
                  <a:pt x="154611" y="242535"/>
                  <a:pt x="143929" y="242535"/>
                </a:cubicBezTo>
                <a:cubicBezTo>
                  <a:pt x="133959" y="242535"/>
                  <a:pt x="125413" y="234069"/>
                  <a:pt x="125413" y="223485"/>
                </a:cubicBezTo>
                <a:cubicBezTo>
                  <a:pt x="125413" y="213608"/>
                  <a:pt x="133959" y="204788"/>
                  <a:pt x="143929" y="204788"/>
                </a:cubicBezTo>
                <a:close/>
                <a:moveTo>
                  <a:pt x="234596" y="203415"/>
                </a:moveTo>
                <a:cubicBezTo>
                  <a:pt x="236411" y="204856"/>
                  <a:pt x="236411" y="207378"/>
                  <a:pt x="235322" y="209539"/>
                </a:cubicBezTo>
                <a:cubicBezTo>
                  <a:pt x="232417" y="212782"/>
                  <a:pt x="231328" y="216385"/>
                  <a:pt x="231328" y="220348"/>
                </a:cubicBezTo>
                <a:lnTo>
                  <a:pt x="231328" y="243406"/>
                </a:lnTo>
                <a:lnTo>
                  <a:pt x="281436" y="243406"/>
                </a:lnTo>
                <a:lnTo>
                  <a:pt x="281436" y="220348"/>
                </a:lnTo>
                <a:cubicBezTo>
                  <a:pt x="281436" y="216385"/>
                  <a:pt x="279983" y="212782"/>
                  <a:pt x="277079" y="209539"/>
                </a:cubicBezTo>
                <a:cubicBezTo>
                  <a:pt x="275989" y="207378"/>
                  <a:pt x="276352" y="204856"/>
                  <a:pt x="278168" y="203415"/>
                </a:cubicBezTo>
                <a:cubicBezTo>
                  <a:pt x="279983" y="201613"/>
                  <a:pt x="282525" y="201974"/>
                  <a:pt x="284704" y="203775"/>
                </a:cubicBezTo>
                <a:cubicBezTo>
                  <a:pt x="288335" y="208459"/>
                  <a:pt x="290150" y="214223"/>
                  <a:pt x="290150" y="220348"/>
                </a:cubicBezTo>
                <a:lnTo>
                  <a:pt x="290150" y="247730"/>
                </a:lnTo>
                <a:cubicBezTo>
                  <a:pt x="290150" y="250252"/>
                  <a:pt x="288335" y="252053"/>
                  <a:pt x="285793" y="252053"/>
                </a:cubicBezTo>
                <a:lnTo>
                  <a:pt x="226607" y="252053"/>
                </a:lnTo>
                <a:cubicBezTo>
                  <a:pt x="224066" y="252053"/>
                  <a:pt x="222250" y="250252"/>
                  <a:pt x="222250" y="247730"/>
                </a:cubicBezTo>
                <a:lnTo>
                  <a:pt x="222250" y="220348"/>
                </a:lnTo>
                <a:cubicBezTo>
                  <a:pt x="222250" y="214223"/>
                  <a:pt x="224066" y="208459"/>
                  <a:pt x="228423" y="203775"/>
                </a:cubicBezTo>
                <a:cubicBezTo>
                  <a:pt x="229875" y="201974"/>
                  <a:pt x="232417" y="201613"/>
                  <a:pt x="234596" y="203415"/>
                </a:cubicBezTo>
                <a:close/>
                <a:moveTo>
                  <a:pt x="12345" y="203415"/>
                </a:moveTo>
                <a:cubicBezTo>
                  <a:pt x="13798" y="204856"/>
                  <a:pt x="14161" y="207378"/>
                  <a:pt x="12708" y="209539"/>
                </a:cubicBezTo>
                <a:cubicBezTo>
                  <a:pt x="10167" y="212782"/>
                  <a:pt x="9077" y="216385"/>
                  <a:pt x="9077" y="220348"/>
                </a:cubicBezTo>
                <a:lnTo>
                  <a:pt x="9077" y="243406"/>
                </a:lnTo>
                <a:lnTo>
                  <a:pt x="59185" y="243406"/>
                </a:lnTo>
                <a:lnTo>
                  <a:pt x="59185" y="220348"/>
                </a:lnTo>
                <a:cubicBezTo>
                  <a:pt x="59185" y="216385"/>
                  <a:pt x="57733" y="212782"/>
                  <a:pt x="54828" y="209539"/>
                </a:cubicBezTo>
                <a:cubicBezTo>
                  <a:pt x="53739" y="207378"/>
                  <a:pt x="53739" y="204856"/>
                  <a:pt x="55917" y="203415"/>
                </a:cubicBezTo>
                <a:cubicBezTo>
                  <a:pt x="57733" y="201613"/>
                  <a:pt x="60275" y="201974"/>
                  <a:pt x="62090" y="203775"/>
                </a:cubicBezTo>
                <a:cubicBezTo>
                  <a:pt x="66084" y="208459"/>
                  <a:pt x="67900" y="214223"/>
                  <a:pt x="67900" y="220348"/>
                </a:cubicBezTo>
                <a:lnTo>
                  <a:pt x="67900" y="247730"/>
                </a:lnTo>
                <a:cubicBezTo>
                  <a:pt x="67900" y="250252"/>
                  <a:pt x="66084" y="252053"/>
                  <a:pt x="63542" y="252053"/>
                </a:cubicBezTo>
                <a:lnTo>
                  <a:pt x="4357" y="252053"/>
                </a:lnTo>
                <a:cubicBezTo>
                  <a:pt x="1815" y="252053"/>
                  <a:pt x="0" y="250252"/>
                  <a:pt x="0" y="247730"/>
                </a:cubicBezTo>
                <a:lnTo>
                  <a:pt x="0" y="220348"/>
                </a:lnTo>
                <a:cubicBezTo>
                  <a:pt x="0" y="214223"/>
                  <a:pt x="2178" y="208459"/>
                  <a:pt x="6172" y="203775"/>
                </a:cubicBezTo>
                <a:cubicBezTo>
                  <a:pt x="7625" y="201974"/>
                  <a:pt x="10167" y="201613"/>
                  <a:pt x="12345" y="203415"/>
                </a:cubicBezTo>
                <a:close/>
                <a:moveTo>
                  <a:pt x="255410" y="175674"/>
                </a:moveTo>
                <a:cubicBezTo>
                  <a:pt x="249713" y="175674"/>
                  <a:pt x="245084" y="179987"/>
                  <a:pt x="245084" y="185738"/>
                </a:cubicBezTo>
                <a:cubicBezTo>
                  <a:pt x="245084" y="191130"/>
                  <a:pt x="249713" y="195802"/>
                  <a:pt x="255410" y="195802"/>
                </a:cubicBezTo>
                <a:cubicBezTo>
                  <a:pt x="260751" y="195802"/>
                  <a:pt x="265380" y="191130"/>
                  <a:pt x="265380" y="185738"/>
                </a:cubicBezTo>
                <a:cubicBezTo>
                  <a:pt x="265380" y="179987"/>
                  <a:pt x="260751" y="175674"/>
                  <a:pt x="255410" y="175674"/>
                </a:cubicBezTo>
                <a:close/>
                <a:moveTo>
                  <a:pt x="33338" y="175674"/>
                </a:moveTo>
                <a:cubicBezTo>
                  <a:pt x="27693" y="175674"/>
                  <a:pt x="23107" y="179987"/>
                  <a:pt x="23107" y="185738"/>
                </a:cubicBezTo>
                <a:cubicBezTo>
                  <a:pt x="23107" y="191130"/>
                  <a:pt x="27693" y="195802"/>
                  <a:pt x="33338" y="195802"/>
                </a:cubicBezTo>
                <a:cubicBezTo>
                  <a:pt x="38629" y="195802"/>
                  <a:pt x="43216" y="191130"/>
                  <a:pt x="43216" y="185738"/>
                </a:cubicBezTo>
                <a:cubicBezTo>
                  <a:pt x="43216" y="179987"/>
                  <a:pt x="38629" y="175674"/>
                  <a:pt x="33338" y="175674"/>
                </a:cubicBezTo>
                <a:close/>
                <a:moveTo>
                  <a:pt x="255410" y="166688"/>
                </a:moveTo>
                <a:cubicBezTo>
                  <a:pt x="265736" y="166688"/>
                  <a:pt x="274282" y="175315"/>
                  <a:pt x="274282" y="185738"/>
                </a:cubicBezTo>
                <a:cubicBezTo>
                  <a:pt x="274282" y="196521"/>
                  <a:pt x="265736" y="204429"/>
                  <a:pt x="255410" y="204429"/>
                </a:cubicBezTo>
                <a:cubicBezTo>
                  <a:pt x="244728" y="204429"/>
                  <a:pt x="236538" y="196521"/>
                  <a:pt x="236538" y="185738"/>
                </a:cubicBezTo>
                <a:cubicBezTo>
                  <a:pt x="236538" y="175315"/>
                  <a:pt x="244728" y="166688"/>
                  <a:pt x="255410" y="166688"/>
                </a:cubicBezTo>
                <a:close/>
                <a:moveTo>
                  <a:pt x="33338" y="166688"/>
                </a:moveTo>
                <a:cubicBezTo>
                  <a:pt x="43568" y="166688"/>
                  <a:pt x="52035" y="175315"/>
                  <a:pt x="52035" y="185738"/>
                </a:cubicBezTo>
                <a:cubicBezTo>
                  <a:pt x="52035" y="196521"/>
                  <a:pt x="43568" y="204429"/>
                  <a:pt x="33338" y="204429"/>
                </a:cubicBezTo>
                <a:cubicBezTo>
                  <a:pt x="22754" y="204429"/>
                  <a:pt x="14288" y="196521"/>
                  <a:pt x="14288" y="185738"/>
                </a:cubicBezTo>
                <a:cubicBezTo>
                  <a:pt x="14288" y="175315"/>
                  <a:pt x="22754" y="166688"/>
                  <a:pt x="33338" y="166688"/>
                </a:cubicBezTo>
                <a:close/>
                <a:moveTo>
                  <a:pt x="143891" y="139700"/>
                </a:moveTo>
                <a:cubicBezTo>
                  <a:pt x="146939" y="139700"/>
                  <a:pt x="148844" y="141862"/>
                  <a:pt x="148844" y="144384"/>
                </a:cubicBezTo>
                <a:lnTo>
                  <a:pt x="148844" y="185456"/>
                </a:lnTo>
                <a:cubicBezTo>
                  <a:pt x="148844" y="187978"/>
                  <a:pt x="146939" y="190140"/>
                  <a:pt x="143891" y="190140"/>
                </a:cubicBezTo>
                <a:cubicBezTo>
                  <a:pt x="141605" y="190140"/>
                  <a:pt x="139700" y="187978"/>
                  <a:pt x="139700" y="185456"/>
                </a:cubicBezTo>
                <a:lnTo>
                  <a:pt x="139700" y="144384"/>
                </a:lnTo>
                <a:cubicBezTo>
                  <a:pt x="139700" y="141862"/>
                  <a:pt x="141605" y="139700"/>
                  <a:pt x="143891" y="139700"/>
                </a:cubicBezTo>
                <a:close/>
                <a:moveTo>
                  <a:pt x="185282" y="127000"/>
                </a:moveTo>
                <a:cubicBezTo>
                  <a:pt x="188154" y="127000"/>
                  <a:pt x="189589" y="128804"/>
                  <a:pt x="189589" y="131691"/>
                </a:cubicBezTo>
                <a:lnTo>
                  <a:pt x="189589" y="181120"/>
                </a:lnTo>
                <a:lnTo>
                  <a:pt x="217225" y="181120"/>
                </a:lnTo>
                <a:cubicBezTo>
                  <a:pt x="219738" y="181120"/>
                  <a:pt x="221891" y="182924"/>
                  <a:pt x="221891" y="185449"/>
                </a:cubicBezTo>
                <a:cubicBezTo>
                  <a:pt x="221891" y="187975"/>
                  <a:pt x="219738" y="190139"/>
                  <a:pt x="217225" y="190139"/>
                </a:cubicBezTo>
                <a:lnTo>
                  <a:pt x="185282" y="190139"/>
                </a:lnTo>
                <a:cubicBezTo>
                  <a:pt x="182770" y="190139"/>
                  <a:pt x="180975" y="187975"/>
                  <a:pt x="180975" y="185449"/>
                </a:cubicBezTo>
                <a:lnTo>
                  <a:pt x="180975" y="131691"/>
                </a:lnTo>
                <a:cubicBezTo>
                  <a:pt x="180975" y="128804"/>
                  <a:pt x="182770" y="127000"/>
                  <a:pt x="185282" y="127000"/>
                </a:cubicBezTo>
                <a:close/>
                <a:moveTo>
                  <a:pt x="103284" y="127000"/>
                </a:moveTo>
                <a:cubicBezTo>
                  <a:pt x="105796" y="127000"/>
                  <a:pt x="107591" y="128804"/>
                  <a:pt x="107591" y="131691"/>
                </a:cubicBezTo>
                <a:lnTo>
                  <a:pt x="107591" y="185449"/>
                </a:lnTo>
                <a:cubicBezTo>
                  <a:pt x="107591" y="187975"/>
                  <a:pt x="105796" y="190139"/>
                  <a:pt x="103284" y="190139"/>
                </a:cubicBezTo>
                <a:lnTo>
                  <a:pt x="70982" y="190139"/>
                </a:lnTo>
                <a:cubicBezTo>
                  <a:pt x="68828" y="190139"/>
                  <a:pt x="66675" y="187975"/>
                  <a:pt x="66675" y="185449"/>
                </a:cubicBezTo>
                <a:cubicBezTo>
                  <a:pt x="66675" y="182924"/>
                  <a:pt x="68828" y="181120"/>
                  <a:pt x="70982" y="181120"/>
                </a:cubicBezTo>
                <a:lnTo>
                  <a:pt x="98977" y="181120"/>
                </a:lnTo>
                <a:lnTo>
                  <a:pt x="98977" y="131691"/>
                </a:lnTo>
                <a:cubicBezTo>
                  <a:pt x="98977" y="128804"/>
                  <a:pt x="101130" y="127000"/>
                  <a:pt x="103284" y="127000"/>
                </a:cubicBezTo>
                <a:close/>
                <a:moveTo>
                  <a:pt x="145437" y="31750"/>
                </a:moveTo>
                <a:cubicBezTo>
                  <a:pt x="147610" y="31750"/>
                  <a:pt x="149420" y="33550"/>
                  <a:pt x="149420" y="36429"/>
                </a:cubicBezTo>
                <a:lnTo>
                  <a:pt x="149420" y="58027"/>
                </a:lnTo>
                <a:lnTo>
                  <a:pt x="171506" y="58027"/>
                </a:lnTo>
                <a:cubicBezTo>
                  <a:pt x="174040" y="58027"/>
                  <a:pt x="175851" y="60546"/>
                  <a:pt x="175851" y="62346"/>
                </a:cubicBezTo>
                <a:cubicBezTo>
                  <a:pt x="175851" y="65226"/>
                  <a:pt x="174040" y="67026"/>
                  <a:pt x="171506" y="67026"/>
                </a:cubicBezTo>
                <a:lnTo>
                  <a:pt x="149420" y="67026"/>
                </a:lnTo>
                <a:lnTo>
                  <a:pt x="149420" y="88983"/>
                </a:lnTo>
                <a:cubicBezTo>
                  <a:pt x="149420" y="91503"/>
                  <a:pt x="147610" y="93303"/>
                  <a:pt x="145437" y="93303"/>
                </a:cubicBezTo>
                <a:cubicBezTo>
                  <a:pt x="142541" y="93303"/>
                  <a:pt x="140730" y="91503"/>
                  <a:pt x="140730" y="88983"/>
                </a:cubicBezTo>
                <a:lnTo>
                  <a:pt x="140730" y="67026"/>
                </a:lnTo>
                <a:lnTo>
                  <a:pt x="118645" y="67026"/>
                </a:lnTo>
                <a:cubicBezTo>
                  <a:pt x="116110" y="67026"/>
                  <a:pt x="114300" y="65226"/>
                  <a:pt x="114300" y="62346"/>
                </a:cubicBezTo>
                <a:cubicBezTo>
                  <a:pt x="114300" y="60546"/>
                  <a:pt x="116110" y="58027"/>
                  <a:pt x="118645" y="58027"/>
                </a:cubicBezTo>
                <a:lnTo>
                  <a:pt x="140730" y="58027"/>
                </a:lnTo>
                <a:lnTo>
                  <a:pt x="140730" y="36429"/>
                </a:lnTo>
                <a:cubicBezTo>
                  <a:pt x="140730" y="33550"/>
                  <a:pt x="142541" y="31750"/>
                  <a:pt x="145437" y="31750"/>
                </a:cubicBezTo>
                <a:close/>
                <a:moveTo>
                  <a:pt x="144644" y="8684"/>
                </a:moveTo>
                <a:cubicBezTo>
                  <a:pt x="114251" y="8684"/>
                  <a:pt x="89647" y="33288"/>
                  <a:pt x="89647" y="62957"/>
                </a:cubicBezTo>
                <a:cubicBezTo>
                  <a:pt x="89647" y="93350"/>
                  <a:pt x="114251" y="117954"/>
                  <a:pt x="144644" y="117954"/>
                </a:cubicBezTo>
                <a:cubicBezTo>
                  <a:pt x="174313" y="117954"/>
                  <a:pt x="198556" y="93350"/>
                  <a:pt x="198556" y="62957"/>
                </a:cubicBezTo>
                <a:cubicBezTo>
                  <a:pt x="198556" y="33288"/>
                  <a:pt x="174313" y="8684"/>
                  <a:pt x="144644" y="8684"/>
                </a:cubicBezTo>
                <a:close/>
                <a:moveTo>
                  <a:pt x="144644" y="0"/>
                </a:moveTo>
                <a:cubicBezTo>
                  <a:pt x="179379" y="0"/>
                  <a:pt x="207601" y="28222"/>
                  <a:pt x="207601" y="62957"/>
                </a:cubicBezTo>
                <a:cubicBezTo>
                  <a:pt x="207601" y="98416"/>
                  <a:pt x="179379" y="126638"/>
                  <a:pt x="144644" y="126638"/>
                </a:cubicBezTo>
                <a:cubicBezTo>
                  <a:pt x="109185" y="126638"/>
                  <a:pt x="80963" y="98416"/>
                  <a:pt x="80963" y="62957"/>
                </a:cubicBezTo>
                <a:cubicBezTo>
                  <a:pt x="80963" y="28222"/>
                  <a:pt x="109185" y="0"/>
                  <a:pt x="1446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29" name="Freeform 1061">
            <a:extLst>
              <a:ext uri="{FF2B5EF4-FFF2-40B4-BE49-F238E27FC236}">
                <a16:creationId xmlns:a16="http://schemas.microsoft.com/office/drawing/2014/main" id="{F9450158-56F9-9C48-888A-D3260D604AE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545593" y="841755"/>
            <a:ext cx="530225" cy="527050"/>
          </a:xfrm>
          <a:custGeom>
            <a:avLst/>
            <a:gdLst>
              <a:gd name="T0" fmla="*/ 6381463 w 291074"/>
              <a:gd name="T1" fmla="*/ 118260728 h 290436"/>
              <a:gd name="T2" fmla="*/ 117329382 w 291074"/>
              <a:gd name="T3" fmla="*/ 103178766 h 290436"/>
              <a:gd name="T4" fmla="*/ 127248536 w 291074"/>
              <a:gd name="T5" fmla="*/ 112881339 h 290436"/>
              <a:gd name="T6" fmla="*/ 99326893 w 291074"/>
              <a:gd name="T7" fmla="*/ 104121746 h 290436"/>
              <a:gd name="T8" fmla="*/ 111246539 w 291074"/>
              <a:gd name="T9" fmla="*/ 100893816 h 290436"/>
              <a:gd name="T10" fmla="*/ 20587701 w 291074"/>
              <a:gd name="T11" fmla="*/ 99970716 h 290436"/>
              <a:gd name="T12" fmla="*/ 25976383 w 291074"/>
              <a:gd name="T13" fmla="*/ 104888675 h 290436"/>
              <a:gd name="T14" fmla="*/ 112063241 w 291074"/>
              <a:gd name="T15" fmla="*/ 74148473 h 290436"/>
              <a:gd name="T16" fmla="*/ 114185614 w 291074"/>
              <a:gd name="T17" fmla="*/ 98279943 h 290436"/>
              <a:gd name="T18" fmla="*/ 127575500 w 291074"/>
              <a:gd name="T19" fmla="*/ 120873984 h 290436"/>
              <a:gd name="T20" fmla="*/ 103735349 w 291074"/>
              <a:gd name="T21" fmla="*/ 108269985 h 290436"/>
              <a:gd name="T22" fmla="*/ 82018180 w 291074"/>
              <a:gd name="T23" fmla="*/ 109960490 h 290436"/>
              <a:gd name="T24" fmla="*/ 84794463 w 291074"/>
              <a:gd name="T25" fmla="*/ 107195892 h 290436"/>
              <a:gd name="T26" fmla="*/ 114185614 w 291074"/>
              <a:gd name="T27" fmla="*/ 87367490 h 290436"/>
              <a:gd name="T28" fmla="*/ 19118593 w 291074"/>
              <a:gd name="T29" fmla="*/ 74148473 h 290436"/>
              <a:gd name="T30" fmla="*/ 16832540 w 291074"/>
              <a:gd name="T31" fmla="*/ 87367490 h 290436"/>
              <a:gd name="T32" fmla="*/ 46550735 w 291074"/>
              <a:gd name="T33" fmla="*/ 107195892 h 290436"/>
              <a:gd name="T34" fmla="*/ 49326661 w 291074"/>
              <a:gd name="T35" fmla="*/ 109960490 h 290436"/>
              <a:gd name="T36" fmla="*/ 27609146 w 291074"/>
              <a:gd name="T37" fmla="*/ 108269985 h 290436"/>
              <a:gd name="T38" fmla="*/ 3605544 w 291074"/>
              <a:gd name="T39" fmla="*/ 120873984 h 290436"/>
              <a:gd name="T40" fmla="*/ 16342408 w 291074"/>
              <a:gd name="T41" fmla="*/ 99663363 h 290436"/>
              <a:gd name="T42" fmla="*/ 15362259 w 291074"/>
              <a:gd name="T43" fmla="*/ 77684115 h 290436"/>
              <a:gd name="T44" fmla="*/ 103517169 w 291074"/>
              <a:gd name="T45" fmla="*/ 64213815 h 290436"/>
              <a:gd name="T46" fmla="*/ 90254916 w 291074"/>
              <a:gd name="T47" fmla="*/ 89822304 h 290436"/>
              <a:gd name="T48" fmla="*/ 40765357 w 291074"/>
              <a:gd name="T49" fmla="*/ 89822304 h 290436"/>
              <a:gd name="T50" fmla="*/ 27503865 w 291074"/>
              <a:gd name="T51" fmla="*/ 64213815 h 290436"/>
              <a:gd name="T52" fmla="*/ 93167027 w 291074"/>
              <a:gd name="T53" fmla="*/ 37532648 h 290436"/>
              <a:gd name="T54" fmla="*/ 37854342 w 291074"/>
              <a:gd name="T55" fmla="*/ 37532648 h 290436"/>
              <a:gd name="T56" fmla="*/ 67451366 w 291074"/>
              <a:gd name="T57" fmla="*/ 26338658 h 290436"/>
              <a:gd name="T58" fmla="*/ 67451366 w 291074"/>
              <a:gd name="T59" fmla="*/ 26338658 h 290436"/>
              <a:gd name="T60" fmla="*/ 63569847 w 291074"/>
              <a:gd name="T61" fmla="*/ 60534775 h 290436"/>
              <a:gd name="T62" fmla="*/ 65510590 w 291074"/>
              <a:gd name="T63" fmla="*/ 102396416 h 290436"/>
              <a:gd name="T64" fmla="*/ 105347701 w 291074"/>
              <a:gd name="T65" fmla="*/ 19545095 h 290436"/>
              <a:gd name="T66" fmla="*/ 111024396 w 291074"/>
              <a:gd name="T67" fmla="*/ 23400513 h 290436"/>
              <a:gd name="T68" fmla="*/ 22546907 w 291074"/>
              <a:gd name="T69" fmla="*/ 21445794 h 290436"/>
              <a:gd name="T70" fmla="*/ 31854966 w 291074"/>
              <a:gd name="T71" fmla="*/ 20209379 h 290436"/>
              <a:gd name="T72" fmla="*/ 111835813 w 291074"/>
              <a:gd name="T73" fmla="*/ 7210767 h 290436"/>
              <a:gd name="T74" fmla="*/ 124489747 w 291074"/>
              <a:gd name="T75" fmla="*/ 6133343 h 290436"/>
              <a:gd name="T76" fmla="*/ 6381463 w 291074"/>
              <a:gd name="T77" fmla="*/ 5976613 h 290436"/>
              <a:gd name="T78" fmla="*/ 18954381 w 291074"/>
              <a:gd name="T79" fmla="*/ 7057561 h 290436"/>
              <a:gd name="T80" fmla="*/ 126274243 w 291074"/>
              <a:gd name="T81" fmla="*/ 20779408 h 290436"/>
              <a:gd name="T82" fmla="*/ 114106565 w 291074"/>
              <a:gd name="T83" fmla="*/ 30799944 h 290436"/>
              <a:gd name="T84" fmla="*/ 110375232 w 291074"/>
              <a:gd name="T85" fmla="*/ 50841781 h 290436"/>
              <a:gd name="T86" fmla="*/ 113944458 w 291074"/>
              <a:gd name="T87" fmla="*/ 37274747 h 290436"/>
              <a:gd name="T88" fmla="*/ 84744057 w 291074"/>
              <a:gd name="T89" fmla="*/ 17233676 h 290436"/>
              <a:gd name="T90" fmla="*/ 77930966 w 291074"/>
              <a:gd name="T91" fmla="*/ 18157288 h 290436"/>
              <a:gd name="T92" fmla="*/ 103562180 w 291074"/>
              <a:gd name="T93" fmla="*/ 16153871 h 290436"/>
              <a:gd name="T94" fmla="*/ 118649116 w 291074"/>
              <a:gd name="T95" fmla="*/ 120409 h 290436"/>
              <a:gd name="T96" fmla="*/ 27445716 w 291074"/>
              <a:gd name="T97" fmla="*/ 16031862 h 290436"/>
              <a:gd name="T98" fmla="*/ 53082351 w 291074"/>
              <a:gd name="T99" fmla="*/ 18042582 h 290436"/>
              <a:gd name="T100" fmla="*/ 46550735 w 291074"/>
              <a:gd name="T101" fmla="*/ 17114714 h 290436"/>
              <a:gd name="T102" fmla="*/ 16832540 w 291074"/>
              <a:gd name="T103" fmla="*/ 37226834 h 290436"/>
              <a:gd name="T104" fmla="*/ 20587701 w 291074"/>
              <a:gd name="T105" fmla="*/ 50841697 h 290436"/>
              <a:gd name="T106" fmla="*/ 16832540 w 291074"/>
              <a:gd name="T107" fmla="*/ 30728957 h 290436"/>
              <a:gd name="T108" fmla="*/ 4585657 w 291074"/>
              <a:gd name="T109" fmla="*/ 20673549 h 2904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91074" h="290436">
                <a:moveTo>
                  <a:pt x="31551" y="241515"/>
                </a:moveTo>
                <a:cubicBezTo>
                  <a:pt x="26841" y="241515"/>
                  <a:pt x="21406" y="243674"/>
                  <a:pt x="16334" y="248710"/>
                </a:cubicBezTo>
                <a:cubicBezTo>
                  <a:pt x="11986" y="253386"/>
                  <a:pt x="9088" y="258781"/>
                  <a:pt x="8726" y="264177"/>
                </a:cubicBezTo>
                <a:cubicBezTo>
                  <a:pt x="8726" y="268493"/>
                  <a:pt x="10899" y="273170"/>
                  <a:pt x="14160" y="276767"/>
                </a:cubicBezTo>
                <a:cubicBezTo>
                  <a:pt x="21769" y="284321"/>
                  <a:pt x="33000" y="283601"/>
                  <a:pt x="42058" y="274249"/>
                </a:cubicBezTo>
                <a:cubicBezTo>
                  <a:pt x="51478" y="264896"/>
                  <a:pt x="52204" y="255184"/>
                  <a:pt x="43870" y="246911"/>
                </a:cubicBezTo>
                <a:cubicBezTo>
                  <a:pt x="40247" y="243314"/>
                  <a:pt x="36261" y="241515"/>
                  <a:pt x="31551" y="241515"/>
                </a:cubicBezTo>
                <a:close/>
                <a:moveTo>
                  <a:pt x="260338" y="241470"/>
                </a:moveTo>
                <a:cubicBezTo>
                  <a:pt x="255718" y="241156"/>
                  <a:pt x="251189" y="242954"/>
                  <a:pt x="247204" y="246911"/>
                </a:cubicBezTo>
                <a:cubicBezTo>
                  <a:pt x="238871" y="255184"/>
                  <a:pt x="239595" y="264896"/>
                  <a:pt x="248653" y="274249"/>
                </a:cubicBezTo>
                <a:cubicBezTo>
                  <a:pt x="258073" y="283601"/>
                  <a:pt x="269305" y="284321"/>
                  <a:pt x="276913" y="276767"/>
                </a:cubicBezTo>
                <a:cubicBezTo>
                  <a:pt x="280899" y="273170"/>
                  <a:pt x="282348" y="268493"/>
                  <a:pt x="282348" y="264177"/>
                </a:cubicBezTo>
                <a:cubicBezTo>
                  <a:pt x="281986" y="258781"/>
                  <a:pt x="279450" y="253386"/>
                  <a:pt x="274015" y="248710"/>
                </a:cubicBezTo>
                <a:cubicBezTo>
                  <a:pt x="269667" y="244213"/>
                  <a:pt x="264957" y="241785"/>
                  <a:pt x="260338" y="241470"/>
                </a:cubicBezTo>
                <a:close/>
                <a:moveTo>
                  <a:pt x="243943" y="220652"/>
                </a:moveTo>
                <a:cubicBezTo>
                  <a:pt x="232349" y="223530"/>
                  <a:pt x="223291" y="231803"/>
                  <a:pt x="220393" y="243674"/>
                </a:cubicBezTo>
                <a:cubicBezTo>
                  <a:pt x="225103" y="242595"/>
                  <a:pt x="229451" y="242954"/>
                  <a:pt x="234523" y="245472"/>
                </a:cubicBezTo>
                <a:lnTo>
                  <a:pt x="236334" y="246551"/>
                </a:lnTo>
                <a:cubicBezTo>
                  <a:pt x="237784" y="244753"/>
                  <a:pt x="238871" y="242595"/>
                  <a:pt x="241045" y="240796"/>
                </a:cubicBezTo>
                <a:cubicBezTo>
                  <a:pt x="242494" y="238997"/>
                  <a:pt x="244668" y="237199"/>
                  <a:pt x="246842" y="236120"/>
                </a:cubicBezTo>
                <a:lnTo>
                  <a:pt x="245392" y="233602"/>
                </a:lnTo>
                <a:cubicBezTo>
                  <a:pt x="243581" y="229645"/>
                  <a:pt x="242494" y="224609"/>
                  <a:pt x="243943" y="220652"/>
                </a:cubicBezTo>
                <a:close/>
                <a:moveTo>
                  <a:pt x="47131" y="220652"/>
                </a:moveTo>
                <a:cubicBezTo>
                  <a:pt x="48580" y="224609"/>
                  <a:pt x="47493" y="229645"/>
                  <a:pt x="45681" y="233962"/>
                </a:cubicBezTo>
                <a:lnTo>
                  <a:pt x="44232" y="236120"/>
                </a:lnTo>
                <a:cubicBezTo>
                  <a:pt x="46406" y="237199"/>
                  <a:pt x="48580" y="238997"/>
                  <a:pt x="50029" y="240796"/>
                </a:cubicBezTo>
                <a:cubicBezTo>
                  <a:pt x="52204" y="242595"/>
                  <a:pt x="53290" y="244753"/>
                  <a:pt x="54740" y="246551"/>
                </a:cubicBezTo>
                <a:lnTo>
                  <a:pt x="57638" y="245472"/>
                </a:lnTo>
                <a:cubicBezTo>
                  <a:pt x="61624" y="242954"/>
                  <a:pt x="65971" y="242595"/>
                  <a:pt x="70681" y="243674"/>
                </a:cubicBezTo>
                <a:cubicBezTo>
                  <a:pt x="67783" y="231803"/>
                  <a:pt x="59087" y="223530"/>
                  <a:pt x="47131" y="220652"/>
                </a:cubicBezTo>
                <a:close/>
                <a:moveTo>
                  <a:pt x="242494" y="173531"/>
                </a:moveTo>
                <a:cubicBezTo>
                  <a:pt x="244305" y="171732"/>
                  <a:pt x="247204" y="171732"/>
                  <a:pt x="248653" y="173531"/>
                </a:cubicBezTo>
                <a:lnTo>
                  <a:pt x="257349" y="181804"/>
                </a:lnTo>
                <a:cubicBezTo>
                  <a:pt x="265319" y="189718"/>
                  <a:pt x="266406" y="201588"/>
                  <a:pt x="260609" y="209501"/>
                </a:cubicBezTo>
                <a:lnTo>
                  <a:pt x="253725" y="219214"/>
                </a:lnTo>
                <a:cubicBezTo>
                  <a:pt x="251552" y="222091"/>
                  <a:pt x="251552" y="226408"/>
                  <a:pt x="253363" y="230005"/>
                </a:cubicBezTo>
                <a:lnTo>
                  <a:pt x="254812" y="233242"/>
                </a:lnTo>
                <a:cubicBezTo>
                  <a:pt x="263508" y="231444"/>
                  <a:pt x="272928" y="234321"/>
                  <a:pt x="280899" y="242595"/>
                </a:cubicBezTo>
                <a:cubicBezTo>
                  <a:pt x="287420" y="249069"/>
                  <a:pt x="290681" y="256263"/>
                  <a:pt x="291044" y="263817"/>
                </a:cubicBezTo>
                <a:cubicBezTo>
                  <a:pt x="291406" y="270652"/>
                  <a:pt x="288507" y="277486"/>
                  <a:pt x="283073" y="282882"/>
                </a:cubicBezTo>
                <a:cubicBezTo>
                  <a:pt x="278363" y="287918"/>
                  <a:pt x="272203" y="290436"/>
                  <a:pt x="264595" y="290436"/>
                </a:cubicBezTo>
                <a:cubicBezTo>
                  <a:pt x="257711" y="290436"/>
                  <a:pt x="250102" y="287918"/>
                  <a:pt x="242494" y="280364"/>
                </a:cubicBezTo>
                <a:cubicBezTo>
                  <a:pt x="234885" y="272450"/>
                  <a:pt x="231624" y="263458"/>
                  <a:pt x="232711" y="254825"/>
                </a:cubicBezTo>
                <a:lnTo>
                  <a:pt x="230175" y="253386"/>
                </a:lnTo>
                <a:cubicBezTo>
                  <a:pt x="226190" y="251587"/>
                  <a:pt x="222204" y="251587"/>
                  <a:pt x="219306" y="253386"/>
                </a:cubicBezTo>
                <a:lnTo>
                  <a:pt x="209523" y="260580"/>
                </a:lnTo>
                <a:cubicBezTo>
                  <a:pt x="206263" y="262738"/>
                  <a:pt x="201915" y="263817"/>
                  <a:pt x="198292" y="263817"/>
                </a:cubicBezTo>
                <a:cubicBezTo>
                  <a:pt x="192132" y="263817"/>
                  <a:pt x="186335" y="261659"/>
                  <a:pt x="181988" y="257342"/>
                </a:cubicBezTo>
                <a:lnTo>
                  <a:pt x="172930" y="248710"/>
                </a:lnTo>
                <a:cubicBezTo>
                  <a:pt x="171118" y="246911"/>
                  <a:pt x="171118" y="244033"/>
                  <a:pt x="172930" y="242595"/>
                </a:cubicBezTo>
                <a:cubicBezTo>
                  <a:pt x="174741" y="240796"/>
                  <a:pt x="178002" y="240796"/>
                  <a:pt x="179451" y="242595"/>
                </a:cubicBezTo>
                <a:lnTo>
                  <a:pt x="188147" y="250868"/>
                </a:lnTo>
                <a:cubicBezTo>
                  <a:pt x="192495" y="255544"/>
                  <a:pt x="199741" y="256263"/>
                  <a:pt x="204089" y="253386"/>
                </a:cubicBezTo>
                <a:lnTo>
                  <a:pt x="210610" y="248710"/>
                </a:lnTo>
                <a:cubicBezTo>
                  <a:pt x="211697" y="228206"/>
                  <a:pt x="228364" y="212019"/>
                  <a:pt x="248653" y="210940"/>
                </a:cubicBezTo>
                <a:lnTo>
                  <a:pt x="253363" y="204466"/>
                </a:lnTo>
                <a:cubicBezTo>
                  <a:pt x="256986" y="199789"/>
                  <a:pt x="255899" y="192955"/>
                  <a:pt x="251189" y="187919"/>
                </a:cubicBezTo>
                <a:lnTo>
                  <a:pt x="242494" y="180006"/>
                </a:lnTo>
                <a:cubicBezTo>
                  <a:pt x="240682" y="178207"/>
                  <a:pt x="240682" y="175329"/>
                  <a:pt x="242494" y="173531"/>
                </a:cubicBezTo>
                <a:close/>
                <a:moveTo>
                  <a:pt x="42421" y="173531"/>
                </a:moveTo>
                <a:cubicBezTo>
                  <a:pt x="43870" y="171732"/>
                  <a:pt x="46768" y="171732"/>
                  <a:pt x="48580" y="173531"/>
                </a:cubicBezTo>
                <a:cubicBezTo>
                  <a:pt x="50029" y="175329"/>
                  <a:pt x="50029" y="178207"/>
                  <a:pt x="48580" y="180006"/>
                </a:cubicBezTo>
                <a:lnTo>
                  <a:pt x="40247" y="187919"/>
                </a:lnTo>
                <a:cubicBezTo>
                  <a:pt x="35537" y="192955"/>
                  <a:pt x="34087" y="199789"/>
                  <a:pt x="37348" y="204466"/>
                </a:cubicBezTo>
                <a:lnTo>
                  <a:pt x="42058" y="210940"/>
                </a:lnTo>
                <a:cubicBezTo>
                  <a:pt x="62711" y="212019"/>
                  <a:pt x="79377" y="228206"/>
                  <a:pt x="80464" y="248710"/>
                </a:cubicBezTo>
                <a:lnTo>
                  <a:pt x="86986" y="253386"/>
                </a:lnTo>
                <a:cubicBezTo>
                  <a:pt x="91696" y="256263"/>
                  <a:pt x="98580" y="255544"/>
                  <a:pt x="103290" y="250868"/>
                </a:cubicBezTo>
                <a:lnTo>
                  <a:pt x="111623" y="242595"/>
                </a:lnTo>
                <a:cubicBezTo>
                  <a:pt x="113434" y="240796"/>
                  <a:pt x="115970" y="240796"/>
                  <a:pt x="117782" y="242595"/>
                </a:cubicBezTo>
                <a:cubicBezTo>
                  <a:pt x="119956" y="244033"/>
                  <a:pt x="119956" y="246911"/>
                  <a:pt x="117782" y="248710"/>
                </a:cubicBezTo>
                <a:lnTo>
                  <a:pt x="109449" y="257342"/>
                </a:lnTo>
                <a:cubicBezTo>
                  <a:pt x="104739" y="261659"/>
                  <a:pt x="98942" y="263817"/>
                  <a:pt x="93145" y="263817"/>
                </a:cubicBezTo>
                <a:cubicBezTo>
                  <a:pt x="89159" y="263817"/>
                  <a:pt x="85536" y="262738"/>
                  <a:pt x="82275" y="260580"/>
                </a:cubicBezTo>
                <a:lnTo>
                  <a:pt x="71768" y="253386"/>
                </a:lnTo>
                <a:cubicBezTo>
                  <a:pt x="68870" y="251587"/>
                  <a:pt x="64884" y="251227"/>
                  <a:pt x="61261" y="253386"/>
                </a:cubicBezTo>
                <a:lnTo>
                  <a:pt x="58001" y="254825"/>
                </a:lnTo>
                <a:cubicBezTo>
                  <a:pt x="59450" y="263458"/>
                  <a:pt x="56551" y="272450"/>
                  <a:pt x="48580" y="280364"/>
                </a:cubicBezTo>
                <a:cubicBezTo>
                  <a:pt x="40971" y="287918"/>
                  <a:pt x="33363" y="290436"/>
                  <a:pt x="26479" y="290436"/>
                </a:cubicBezTo>
                <a:cubicBezTo>
                  <a:pt x="18870" y="290436"/>
                  <a:pt x="12349" y="287918"/>
                  <a:pt x="8001" y="282882"/>
                </a:cubicBezTo>
                <a:cubicBezTo>
                  <a:pt x="2566" y="277486"/>
                  <a:pt x="-332" y="270652"/>
                  <a:pt x="30" y="263817"/>
                </a:cubicBezTo>
                <a:cubicBezTo>
                  <a:pt x="30" y="256263"/>
                  <a:pt x="3653" y="249069"/>
                  <a:pt x="10175" y="242595"/>
                </a:cubicBezTo>
                <a:cubicBezTo>
                  <a:pt x="17059" y="236120"/>
                  <a:pt x="24305" y="232882"/>
                  <a:pt x="31551" y="232882"/>
                </a:cubicBezTo>
                <a:cubicBezTo>
                  <a:pt x="33363" y="232882"/>
                  <a:pt x="34450" y="232882"/>
                  <a:pt x="36261" y="233242"/>
                </a:cubicBezTo>
                <a:lnTo>
                  <a:pt x="37348" y="230364"/>
                </a:lnTo>
                <a:cubicBezTo>
                  <a:pt x="39522" y="226408"/>
                  <a:pt x="39522" y="222091"/>
                  <a:pt x="37348" y="219214"/>
                </a:cubicBezTo>
                <a:lnTo>
                  <a:pt x="30464" y="209501"/>
                </a:lnTo>
                <a:cubicBezTo>
                  <a:pt x="24667" y="201588"/>
                  <a:pt x="25754" y="189718"/>
                  <a:pt x="34087" y="181804"/>
                </a:cubicBezTo>
                <a:lnTo>
                  <a:pt x="42421" y="173531"/>
                </a:lnTo>
                <a:close/>
                <a:moveTo>
                  <a:pt x="183399" y="150280"/>
                </a:moveTo>
                <a:cubicBezTo>
                  <a:pt x="184834" y="171094"/>
                  <a:pt x="192729" y="189755"/>
                  <a:pt x="206725" y="204109"/>
                </a:cubicBezTo>
                <a:cubicBezTo>
                  <a:pt x="220362" y="190114"/>
                  <a:pt x="228974" y="171453"/>
                  <a:pt x="229692" y="150280"/>
                </a:cubicBezTo>
                <a:lnTo>
                  <a:pt x="183399" y="150280"/>
                </a:lnTo>
                <a:close/>
                <a:moveTo>
                  <a:pt x="149666" y="150280"/>
                </a:moveTo>
                <a:lnTo>
                  <a:pt x="149666" y="230665"/>
                </a:lnTo>
                <a:cubicBezTo>
                  <a:pt x="169045" y="229588"/>
                  <a:pt x="186629" y="222052"/>
                  <a:pt x="200265" y="210210"/>
                </a:cubicBezTo>
                <a:cubicBezTo>
                  <a:pt x="184834" y="194061"/>
                  <a:pt x="175863" y="172888"/>
                  <a:pt x="174786" y="150280"/>
                </a:cubicBezTo>
                <a:lnTo>
                  <a:pt x="149666" y="150280"/>
                </a:lnTo>
                <a:close/>
                <a:moveTo>
                  <a:pt x="115574" y="150280"/>
                </a:moveTo>
                <a:cubicBezTo>
                  <a:pt x="114857" y="172888"/>
                  <a:pt x="105885" y="194061"/>
                  <a:pt x="90454" y="210210"/>
                </a:cubicBezTo>
                <a:cubicBezTo>
                  <a:pt x="104450" y="222052"/>
                  <a:pt x="121316" y="229588"/>
                  <a:pt x="141054" y="230665"/>
                </a:cubicBezTo>
                <a:lnTo>
                  <a:pt x="141054" y="150280"/>
                </a:lnTo>
                <a:lnTo>
                  <a:pt x="115574" y="150280"/>
                </a:lnTo>
                <a:close/>
                <a:moveTo>
                  <a:pt x="61028" y="150280"/>
                </a:moveTo>
                <a:cubicBezTo>
                  <a:pt x="62104" y="171453"/>
                  <a:pt x="70717" y="190114"/>
                  <a:pt x="83995" y="204109"/>
                </a:cubicBezTo>
                <a:cubicBezTo>
                  <a:pt x="97990" y="189755"/>
                  <a:pt x="105885" y="171094"/>
                  <a:pt x="107321" y="150280"/>
                </a:cubicBezTo>
                <a:lnTo>
                  <a:pt x="61028" y="150280"/>
                </a:lnTo>
                <a:close/>
                <a:moveTo>
                  <a:pt x="206725" y="87839"/>
                </a:moveTo>
                <a:cubicBezTo>
                  <a:pt x="192729" y="102911"/>
                  <a:pt x="184834" y="121571"/>
                  <a:pt x="183399" y="141668"/>
                </a:cubicBezTo>
                <a:lnTo>
                  <a:pt x="229692" y="141668"/>
                </a:lnTo>
                <a:cubicBezTo>
                  <a:pt x="228974" y="120854"/>
                  <a:pt x="220362" y="101834"/>
                  <a:pt x="206725" y="87839"/>
                </a:cubicBezTo>
                <a:close/>
                <a:moveTo>
                  <a:pt x="83995" y="87839"/>
                </a:moveTo>
                <a:cubicBezTo>
                  <a:pt x="70717" y="101834"/>
                  <a:pt x="62104" y="120854"/>
                  <a:pt x="61028" y="141668"/>
                </a:cubicBezTo>
                <a:lnTo>
                  <a:pt x="107321" y="141668"/>
                </a:lnTo>
                <a:cubicBezTo>
                  <a:pt x="105885" y="121571"/>
                  <a:pt x="97990" y="102911"/>
                  <a:pt x="83995" y="87839"/>
                </a:cubicBezTo>
                <a:close/>
                <a:moveTo>
                  <a:pt x="149666" y="61642"/>
                </a:moveTo>
                <a:lnTo>
                  <a:pt x="149666" y="141668"/>
                </a:lnTo>
                <a:lnTo>
                  <a:pt x="174786" y="141668"/>
                </a:lnTo>
                <a:cubicBezTo>
                  <a:pt x="175863" y="119059"/>
                  <a:pt x="184834" y="98245"/>
                  <a:pt x="200265" y="82097"/>
                </a:cubicBezTo>
                <a:cubicBezTo>
                  <a:pt x="186629" y="69896"/>
                  <a:pt x="169045" y="62718"/>
                  <a:pt x="149666" y="61642"/>
                </a:cubicBezTo>
                <a:close/>
                <a:moveTo>
                  <a:pt x="141054" y="61642"/>
                </a:moveTo>
                <a:cubicBezTo>
                  <a:pt x="121316" y="62718"/>
                  <a:pt x="104450" y="69896"/>
                  <a:pt x="90454" y="82097"/>
                </a:cubicBezTo>
                <a:cubicBezTo>
                  <a:pt x="105885" y="98245"/>
                  <a:pt x="114857" y="119059"/>
                  <a:pt x="115574" y="141668"/>
                </a:cubicBezTo>
                <a:lnTo>
                  <a:pt x="141054" y="141668"/>
                </a:lnTo>
                <a:lnTo>
                  <a:pt x="141054" y="61642"/>
                </a:lnTo>
                <a:close/>
                <a:moveTo>
                  <a:pt x="145360" y="52670"/>
                </a:moveTo>
                <a:cubicBezTo>
                  <a:pt x="197036" y="52670"/>
                  <a:pt x="239022" y="94657"/>
                  <a:pt x="239022" y="146333"/>
                </a:cubicBezTo>
                <a:cubicBezTo>
                  <a:pt x="239022" y="197650"/>
                  <a:pt x="197036" y="239636"/>
                  <a:pt x="145360" y="239636"/>
                </a:cubicBezTo>
                <a:cubicBezTo>
                  <a:pt x="93684" y="239636"/>
                  <a:pt x="52056" y="197650"/>
                  <a:pt x="52056" y="146333"/>
                </a:cubicBezTo>
                <a:cubicBezTo>
                  <a:pt x="52056" y="94657"/>
                  <a:pt x="93684" y="52670"/>
                  <a:pt x="145360" y="52670"/>
                </a:cubicBezTo>
                <a:close/>
                <a:moveTo>
                  <a:pt x="235910" y="44660"/>
                </a:moveTo>
                <a:lnTo>
                  <a:pt x="233751" y="45742"/>
                </a:lnTo>
                <a:cubicBezTo>
                  <a:pt x="229071" y="47907"/>
                  <a:pt x="224752" y="48268"/>
                  <a:pt x="220072" y="47546"/>
                </a:cubicBezTo>
                <a:cubicBezTo>
                  <a:pt x="222952" y="59092"/>
                  <a:pt x="231951" y="67751"/>
                  <a:pt x="243469" y="70638"/>
                </a:cubicBezTo>
                <a:cubicBezTo>
                  <a:pt x="242030" y="66308"/>
                  <a:pt x="243110" y="61257"/>
                  <a:pt x="245269" y="56927"/>
                </a:cubicBezTo>
                <a:lnTo>
                  <a:pt x="246349" y="54763"/>
                </a:lnTo>
                <a:cubicBezTo>
                  <a:pt x="244189" y="53680"/>
                  <a:pt x="242030" y="52237"/>
                  <a:pt x="240590" y="50433"/>
                </a:cubicBezTo>
                <a:cubicBezTo>
                  <a:pt x="238430" y="48629"/>
                  <a:pt x="237350" y="46825"/>
                  <a:pt x="235910" y="44660"/>
                </a:cubicBezTo>
                <a:close/>
                <a:moveTo>
                  <a:pt x="54740" y="44398"/>
                </a:moveTo>
                <a:cubicBezTo>
                  <a:pt x="53290" y="46570"/>
                  <a:pt x="52204" y="48381"/>
                  <a:pt x="50029" y="50191"/>
                </a:cubicBezTo>
                <a:cubicBezTo>
                  <a:pt x="48580" y="52001"/>
                  <a:pt x="46406" y="53450"/>
                  <a:pt x="44232" y="54536"/>
                </a:cubicBezTo>
                <a:lnTo>
                  <a:pt x="45681" y="57071"/>
                </a:lnTo>
                <a:cubicBezTo>
                  <a:pt x="47493" y="61053"/>
                  <a:pt x="48580" y="66122"/>
                  <a:pt x="47131" y="70467"/>
                </a:cubicBezTo>
                <a:cubicBezTo>
                  <a:pt x="59087" y="67570"/>
                  <a:pt x="67783" y="58881"/>
                  <a:pt x="70681" y="47295"/>
                </a:cubicBezTo>
                <a:cubicBezTo>
                  <a:pt x="65971" y="48019"/>
                  <a:pt x="61624" y="47657"/>
                  <a:pt x="56914" y="45122"/>
                </a:cubicBezTo>
                <a:lnTo>
                  <a:pt x="54740" y="44398"/>
                </a:lnTo>
                <a:close/>
                <a:moveTo>
                  <a:pt x="263627" y="9302"/>
                </a:moveTo>
                <a:cubicBezTo>
                  <a:pt x="258948" y="9662"/>
                  <a:pt x="253188" y="11827"/>
                  <a:pt x="248149" y="16878"/>
                </a:cubicBezTo>
                <a:cubicBezTo>
                  <a:pt x="243829" y="21930"/>
                  <a:pt x="240950" y="26620"/>
                  <a:pt x="240950" y="32032"/>
                </a:cubicBezTo>
                <a:cubicBezTo>
                  <a:pt x="240950" y="36001"/>
                  <a:pt x="243110" y="40691"/>
                  <a:pt x="246709" y="44299"/>
                </a:cubicBezTo>
                <a:cubicBezTo>
                  <a:pt x="254628" y="52237"/>
                  <a:pt x="264707" y="51515"/>
                  <a:pt x="273346" y="42495"/>
                </a:cubicBezTo>
                <a:cubicBezTo>
                  <a:pt x="283425" y="33114"/>
                  <a:pt x="284145" y="22290"/>
                  <a:pt x="276226" y="14353"/>
                </a:cubicBezTo>
                <a:cubicBezTo>
                  <a:pt x="272626" y="11106"/>
                  <a:pt x="268666" y="9302"/>
                  <a:pt x="264707" y="9302"/>
                </a:cubicBezTo>
                <a:cubicBezTo>
                  <a:pt x="263987" y="9302"/>
                  <a:pt x="263987" y="9302"/>
                  <a:pt x="263627" y="9302"/>
                </a:cubicBezTo>
                <a:close/>
                <a:moveTo>
                  <a:pt x="26479" y="8916"/>
                </a:moveTo>
                <a:cubicBezTo>
                  <a:pt x="21769" y="8916"/>
                  <a:pt x="17783" y="10364"/>
                  <a:pt x="14160" y="13985"/>
                </a:cubicBezTo>
                <a:cubicBezTo>
                  <a:pt x="10899" y="17605"/>
                  <a:pt x="8726" y="21950"/>
                  <a:pt x="8726" y="26657"/>
                </a:cubicBezTo>
                <a:cubicBezTo>
                  <a:pt x="9088" y="31726"/>
                  <a:pt x="11986" y="37157"/>
                  <a:pt x="16334" y="42226"/>
                </a:cubicBezTo>
                <a:cubicBezTo>
                  <a:pt x="25754" y="51277"/>
                  <a:pt x="35899" y="52001"/>
                  <a:pt x="43870" y="44036"/>
                </a:cubicBezTo>
                <a:cubicBezTo>
                  <a:pt x="52204" y="35709"/>
                  <a:pt x="51478" y="25933"/>
                  <a:pt x="42058" y="16519"/>
                </a:cubicBezTo>
                <a:cubicBezTo>
                  <a:pt x="36986" y="11088"/>
                  <a:pt x="31551" y="8916"/>
                  <a:pt x="26479" y="8916"/>
                </a:cubicBezTo>
                <a:close/>
                <a:moveTo>
                  <a:pt x="263267" y="282"/>
                </a:moveTo>
                <a:cubicBezTo>
                  <a:pt x="270826" y="282"/>
                  <a:pt x="277305" y="3168"/>
                  <a:pt x="282345" y="8219"/>
                </a:cubicBezTo>
                <a:cubicBezTo>
                  <a:pt x="291704" y="17600"/>
                  <a:pt x="294583" y="34197"/>
                  <a:pt x="280185" y="48629"/>
                </a:cubicBezTo>
                <a:cubicBezTo>
                  <a:pt x="273346" y="55123"/>
                  <a:pt x="266147" y="58371"/>
                  <a:pt x="258948" y="58371"/>
                </a:cubicBezTo>
                <a:cubicBezTo>
                  <a:pt x="257148" y="58371"/>
                  <a:pt x="256068" y="58371"/>
                  <a:pt x="254268" y="58010"/>
                </a:cubicBezTo>
                <a:lnTo>
                  <a:pt x="253188" y="60896"/>
                </a:lnTo>
                <a:cubicBezTo>
                  <a:pt x="251029" y="65226"/>
                  <a:pt x="251029" y="69194"/>
                  <a:pt x="253188" y="72081"/>
                </a:cubicBezTo>
                <a:lnTo>
                  <a:pt x="260027" y="81822"/>
                </a:lnTo>
                <a:cubicBezTo>
                  <a:pt x="266147" y="90121"/>
                  <a:pt x="264707" y="101305"/>
                  <a:pt x="256788" y="109604"/>
                </a:cubicBezTo>
                <a:lnTo>
                  <a:pt x="248149" y="117902"/>
                </a:lnTo>
                <a:cubicBezTo>
                  <a:pt x="247429" y="118624"/>
                  <a:pt x="246349" y="118984"/>
                  <a:pt x="244909" y="118984"/>
                </a:cubicBezTo>
                <a:cubicBezTo>
                  <a:pt x="244189" y="118984"/>
                  <a:pt x="243110" y="118624"/>
                  <a:pt x="242030" y="117902"/>
                </a:cubicBezTo>
                <a:cubicBezTo>
                  <a:pt x="240230" y="116098"/>
                  <a:pt x="240230" y="113572"/>
                  <a:pt x="242030" y="111769"/>
                </a:cubicBezTo>
                <a:lnTo>
                  <a:pt x="250669" y="103109"/>
                </a:lnTo>
                <a:cubicBezTo>
                  <a:pt x="255348" y="98419"/>
                  <a:pt x="256428" y="91564"/>
                  <a:pt x="252828" y="87234"/>
                </a:cubicBezTo>
                <a:lnTo>
                  <a:pt x="248149" y="80740"/>
                </a:lnTo>
                <a:cubicBezTo>
                  <a:pt x="227991" y="79297"/>
                  <a:pt x="211433" y="63061"/>
                  <a:pt x="210353" y="42495"/>
                </a:cubicBezTo>
                <a:lnTo>
                  <a:pt x="203874" y="37805"/>
                </a:lnTo>
                <a:cubicBezTo>
                  <a:pt x="199555" y="34557"/>
                  <a:pt x="192356" y="35640"/>
                  <a:pt x="188036" y="40330"/>
                </a:cubicBezTo>
                <a:lnTo>
                  <a:pt x="179397" y="48629"/>
                </a:lnTo>
                <a:cubicBezTo>
                  <a:pt x="178677" y="49711"/>
                  <a:pt x="177238" y="50072"/>
                  <a:pt x="176158" y="50072"/>
                </a:cubicBezTo>
                <a:cubicBezTo>
                  <a:pt x="175438" y="50072"/>
                  <a:pt x="173998" y="49711"/>
                  <a:pt x="172918" y="48629"/>
                </a:cubicBezTo>
                <a:cubicBezTo>
                  <a:pt x="171118" y="47185"/>
                  <a:pt x="171118" y="44299"/>
                  <a:pt x="172918" y="42495"/>
                </a:cubicBezTo>
                <a:lnTo>
                  <a:pt x="181917" y="34197"/>
                </a:lnTo>
                <a:cubicBezTo>
                  <a:pt x="189116" y="26259"/>
                  <a:pt x="200995" y="24816"/>
                  <a:pt x="209274" y="30228"/>
                </a:cubicBezTo>
                <a:lnTo>
                  <a:pt x="218992" y="37805"/>
                </a:lnTo>
                <a:cubicBezTo>
                  <a:pt x="221872" y="39609"/>
                  <a:pt x="225832" y="39609"/>
                  <a:pt x="229791" y="37805"/>
                </a:cubicBezTo>
                <a:lnTo>
                  <a:pt x="232311" y="36361"/>
                </a:lnTo>
                <a:cubicBezTo>
                  <a:pt x="232311" y="34918"/>
                  <a:pt x="231951" y="33114"/>
                  <a:pt x="231951" y="32032"/>
                </a:cubicBezTo>
                <a:cubicBezTo>
                  <a:pt x="231951" y="24094"/>
                  <a:pt x="235550" y="17239"/>
                  <a:pt x="242030" y="10745"/>
                </a:cubicBezTo>
                <a:cubicBezTo>
                  <a:pt x="248509" y="4251"/>
                  <a:pt x="256068" y="643"/>
                  <a:pt x="263267" y="282"/>
                </a:cubicBezTo>
                <a:close/>
                <a:moveTo>
                  <a:pt x="26253" y="0"/>
                </a:moveTo>
                <a:cubicBezTo>
                  <a:pt x="33363" y="-45"/>
                  <a:pt x="41153" y="2942"/>
                  <a:pt x="48580" y="10364"/>
                </a:cubicBezTo>
                <a:cubicBezTo>
                  <a:pt x="56551" y="18692"/>
                  <a:pt x="59450" y="27743"/>
                  <a:pt x="58001" y="36071"/>
                </a:cubicBezTo>
                <a:lnTo>
                  <a:pt x="60899" y="37519"/>
                </a:lnTo>
                <a:cubicBezTo>
                  <a:pt x="64884" y="39329"/>
                  <a:pt x="68870" y="39329"/>
                  <a:pt x="71768" y="37519"/>
                </a:cubicBezTo>
                <a:lnTo>
                  <a:pt x="82275" y="29916"/>
                </a:lnTo>
                <a:cubicBezTo>
                  <a:pt x="89884" y="24485"/>
                  <a:pt x="101840" y="25933"/>
                  <a:pt x="109449" y="33898"/>
                </a:cubicBezTo>
                <a:lnTo>
                  <a:pt x="117782" y="42226"/>
                </a:lnTo>
                <a:cubicBezTo>
                  <a:pt x="119956" y="44036"/>
                  <a:pt x="119956" y="46932"/>
                  <a:pt x="117782" y="48381"/>
                </a:cubicBezTo>
                <a:cubicBezTo>
                  <a:pt x="117057" y="49467"/>
                  <a:pt x="115970" y="49829"/>
                  <a:pt x="114884" y="49829"/>
                </a:cubicBezTo>
                <a:cubicBezTo>
                  <a:pt x="113797" y="49829"/>
                  <a:pt x="112710" y="49467"/>
                  <a:pt x="111623" y="48381"/>
                </a:cubicBezTo>
                <a:lnTo>
                  <a:pt x="103290" y="40053"/>
                </a:lnTo>
                <a:cubicBezTo>
                  <a:pt x="98580" y="35347"/>
                  <a:pt x="91696" y="34260"/>
                  <a:pt x="86986" y="37519"/>
                </a:cubicBezTo>
                <a:lnTo>
                  <a:pt x="80464" y="42226"/>
                </a:lnTo>
                <a:cubicBezTo>
                  <a:pt x="79377" y="62864"/>
                  <a:pt x="62711" y="79156"/>
                  <a:pt x="42058" y="80605"/>
                </a:cubicBezTo>
                <a:lnTo>
                  <a:pt x="37348" y="87122"/>
                </a:lnTo>
                <a:cubicBezTo>
                  <a:pt x="34087" y="91467"/>
                  <a:pt x="35537" y="98346"/>
                  <a:pt x="40247" y="103052"/>
                </a:cubicBezTo>
                <a:lnTo>
                  <a:pt x="48580" y="111742"/>
                </a:lnTo>
                <a:cubicBezTo>
                  <a:pt x="50029" y="113552"/>
                  <a:pt x="50029" y="116087"/>
                  <a:pt x="48580" y="117897"/>
                </a:cubicBezTo>
                <a:cubicBezTo>
                  <a:pt x="47493" y="118621"/>
                  <a:pt x="46768" y="118983"/>
                  <a:pt x="45681" y="118983"/>
                </a:cubicBezTo>
                <a:cubicBezTo>
                  <a:pt x="44232" y="118983"/>
                  <a:pt x="43145" y="118621"/>
                  <a:pt x="42421" y="117897"/>
                </a:cubicBezTo>
                <a:lnTo>
                  <a:pt x="34087" y="109570"/>
                </a:lnTo>
                <a:cubicBezTo>
                  <a:pt x="25754" y="101242"/>
                  <a:pt x="24667" y="90018"/>
                  <a:pt x="30464" y="81691"/>
                </a:cubicBezTo>
                <a:lnTo>
                  <a:pt x="37348" y="71915"/>
                </a:lnTo>
                <a:cubicBezTo>
                  <a:pt x="39522" y="69019"/>
                  <a:pt x="39522" y="65036"/>
                  <a:pt x="37348" y="60691"/>
                </a:cubicBezTo>
                <a:lnTo>
                  <a:pt x="36261" y="57795"/>
                </a:lnTo>
                <a:cubicBezTo>
                  <a:pt x="34450" y="58157"/>
                  <a:pt x="33363" y="58157"/>
                  <a:pt x="31551" y="58157"/>
                </a:cubicBezTo>
                <a:cubicBezTo>
                  <a:pt x="24667" y="58157"/>
                  <a:pt x="17059" y="54898"/>
                  <a:pt x="10175" y="48381"/>
                </a:cubicBezTo>
                <a:cubicBezTo>
                  <a:pt x="3653" y="41864"/>
                  <a:pt x="30" y="34622"/>
                  <a:pt x="30" y="27019"/>
                </a:cubicBezTo>
                <a:cubicBezTo>
                  <a:pt x="-332" y="19778"/>
                  <a:pt x="2566" y="13261"/>
                  <a:pt x="8001" y="7830"/>
                </a:cubicBezTo>
                <a:cubicBezTo>
                  <a:pt x="12711" y="3123"/>
                  <a:pt x="19142" y="46"/>
                  <a:pt x="2625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0" name="Freeform 1059">
            <a:extLst>
              <a:ext uri="{FF2B5EF4-FFF2-40B4-BE49-F238E27FC236}">
                <a16:creationId xmlns:a16="http://schemas.microsoft.com/office/drawing/2014/main" id="{0CEA3C14-EEC6-AC4C-AF5E-B793A9FB490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340418" y="900278"/>
            <a:ext cx="530225" cy="527050"/>
          </a:xfrm>
          <a:custGeom>
            <a:avLst/>
            <a:gdLst>
              <a:gd name="T0" fmla="*/ 89779237 w 291737"/>
              <a:gd name="T1" fmla="*/ 109284772 h 290153"/>
              <a:gd name="T2" fmla="*/ 102871663 w 291737"/>
              <a:gd name="T3" fmla="*/ 104718570 h 290153"/>
              <a:gd name="T4" fmla="*/ 123273045 w 291737"/>
              <a:gd name="T5" fmla="*/ 122214270 h 290153"/>
              <a:gd name="T6" fmla="*/ 124538682 w 291737"/>
              <a:gd name="T7" fmla="*/ 105031042 h 290153"/>
              <a:gd name="T8" fmla="*/ 99391902 w 291737"/>
              <a:gd name="T9" fmla="*/ 125807186 h 290153"/>
              <a:gd name="T10" fmla="*/ 102871663 w 291737"/>
              <a:gd name="T11" fmla="*/ 104718570 h 290153"/>
              <a:gd name="T12" fmla="*/ 3931849 w 291737"/>
              <a:gd name="T13" fmla="*/ 122214270 h 290153"/>
              <a:gd name="T14" fmla="*/ 24383897 w 291737"/>
              <a:gd name="T15" fmla="*/ 104718570 h 290153"/>
              <a:gd name="T16" fmla="*/ 27686387 w 291737"/>
              <a:gd name="T17" fmla="*/ 125807186 h 290153"/>
              <a:gd name="T18" fmla="*/ 2675210 w 291737"/>
              <a:gd name="T19" fmla="*/ 105031042 h 290153"/>
              <a:gd name="T20" fmla="*/ 111858698 w 291737"/>
              <a:gd name="T21" fmla="*/ 101300184 h 290153"/>
              <a:gd name="T22" fmla="*/ 10672229 w 291737"/>
              <a:gd name="T23" fmla="*/ 96976848 h 290153"/>
              <a:gd name="T24" fmla="*/ 111858698 w 291737"/>
              <a:gd name="T25" fmla="*/ 88794158 h 290153"/>
              <a:gd name="T26" fmla="*/ 111858698 w 291737"/>
              <a:gd name="T27" fmla="*/ 88794158 h 290153"/>
              <a:gd name="T28" fmla="*/ 6915088 w 291737"/>
              <a:gd name="T29" fmla="*/ 96976848 h 290153"/>
              <a:gd name="T30" fmla="*/ 99462300 w 291737"/>
              <a:gd name="T31" fmla="*/ 96153616 h 290153"/>
              <a:gd name="T32" fmla="*/ 82229262 w 291737"/>
              <a:gd name="T33" fmla="*/ 84875441 h 290153"/>
              <a:gd name="T34" fmla="*/ 44678279 w 291737"/>
              <a:gd name="T35" fmla="*/ 84875441 h 290153"/>
              <a:gd name="T36" fmla="*/ 27764580 w 291737"/>
              <a:gd name="T37" fmla="*/ 96153616 h 290153"/>
              <a:gd name="T38" fmla="*/ 52334178 w 291737"/>
              <a:gd name="T39" fmla="*/ 68852146 h 290153"/>
              <a:gd name="T40" fmla="*/ 72313118 w 291737"/>
              <a:gd name="T41" fmla="*/ 64165631 h 290153"/>
              <a:gd name="T42" fmla="*/ 77976585 w 291737"/>
              <a:gd name="T43" fmla="*/ 80724467 h 290153"/>
              <a:gd name="T44" fmla="*/ 48401249 w 291737"/>
              <a:gd name="T45" fmla="*/ 68852146 h 290153"/>
              <a:gd name="T46" fmla="*/ 59193458 w 291737"/>
              <a:gd name="T47" fmla="*/ 54222035 h 290153"/>
              <a:gd name="T48" fmla="*/ 63536008 w 291737"/>
              <a:gd name="T49" fmla="*/ 46117364 h 290153"/>
              <a:gd name="T50" fmla="*/ 63536008 w 291737"/>
              <a:gd name="T51" fmla="*/ 46117364 h 290153"/>
              <a:gd name="T52" fmla="*/ 111765453 w 291737"/>
              <a:gd name="T53" fmla="*/ 83819484 h 290153"/>
              <a:gd name="T54" fmla="*/ 15051580 w 291737"/>
              <a:gd name="T55" fmla="*/ 41987648 h 290153"/>
              <a:gd name="T56" fmla="*/ 13138120 w 291737"/>
              <a:gd name="T57" fmla="*/ 82102572 h 290153"/>
              <a:gd name="T58" fmla="*/ 91709610 w 291737"/>
              <a:gd name="T59" fmla="*/ 35208138 h 290153"/>
              <a:gd name="T60" fmla="*/ 77223386 w 291737"/>
              <a:gd name="T61" fmla="*/ 49457136 h 290153"/>
              <a:gd name="T62" fmla="*/ 37911938 w 291737"/>
              <a:gd name="T63" fmla="*/ 35208138 h 290153"/>
              <a:gd name="T64" fmla="*/ 46976875 w 291737"/>
              <a:gd name="T65" fmla="*/ 49457136 h 290153"/>
              <a:gd name="T66" fmla="*/ 89779237 w 291737"/>
              <a:gd name="T67" fmla="*/ 16518775 h 290153"/>
              <a:gd name="T68" fmla="*/ 34572388 w 291737"/>
              <a:gd name="T69" fmla="*/ 18502114 h 290153"/>
              <a:gd name="T70" fmla="*/ 101289900 w 291737"/>
              <a:gd name="T71" fmla="*/ 23421996 h 290153"/>
              <a:gd name="T72" fmla="*/ 121533257 w 291737"/>
              <a:gd name="T73" fmla="*/ 18424099 h 290153"/>
              <a:gd name="T74" fmla="*/ 127068263 w 291737"/>
              <a:gd name="T75" fmla="*/ 35139610 h 290153"/>
              <a:gd name="T76" fmla="*/ 97494406 w 291737"/>
              <a:gd name="T77" fmla="*/ 23421996 h 290153"/>
              <a:gd name="T78" fmla="*/ 5662450 w 291737"/>
              <a:gd name="T79" fmla="*/ 18424099 h 290153"/>
              <a:gd name="T80" fmla="*/ 25641957 w 291737"/>
              <a:gd name="T81" fmla="*/ 23421996 h 290153"/>
              <a:gd name="T82" fmla="*/ 29575230 w 291737"/>
              <a:gd name="T83" fmla="*/ 23421996 h 290153"/>
              <a:gd name="T84" fmla="*/ 0 w 291737"/>
              <a:gd name="T85" fmla="*/ 35139610 h 290153"/>
              <a:gd name="T86" fmla="*/ 111858698 w 291737"/>
              <a:gd name="T87" fmla="*/ 3859771 h 290153"/>
              <a:gd name="T88" fmla="*/ 111858698 w 291737"/>
              <a:gd name="T89" fmla="*/ 3859771 h 290153"/>
              <a:gd name="T90" fmla="*/ 19439297 w 291737"/>
              <a:gd name="T91" fmla="*/ 8182036 h 290153"/>
              <a:gd name="T92" fmla="*/ 111858698 w 291737"/>
              <a:gd name="T93" fmla="*/ 16365797 h 290153"/>
              <a:gd name="T94" fmla="*/ 23352569 w 291737"/>
              <a:gd name="T95" fmla="*/ 8182036 h 2901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91737" h="290153">
                <a:moveTo>
                  <a:pt x="83671" y="242888"/>
                </a:moveTo>
                <a:lnTo>
                  <a:pt x="206125" y="242888"/>
                </a:lnTo>
                <a:cubicBezTo>
                  <a:pt x="208631" y="242888"/>
                  <a:pt x="210779" y="245086"/>
                  <a:pt x="210779" y="247651"/>
                </a:cubicBezTo>
                <a:cubicBezTo>
                  <a:pt x="210779" y="250215"/>
                  <a:pt x="208631" y="252047"/>
                  <a:pt x="206125" y="252047"/>
                </a:cubicBezTo>
                <a:lnTo>
                  <a:pt x="83671" y="252047"/>
                </a:lnTo>
                <a:cubicBezTo>
                  <a:pt x="81523" y="252047"/>
                  <a:pt x="79375" y="250215"/>
                  <a:pt x="79375" y="247651"/>
                </a:cubicBezTo>
                <a:cubicBezTo>
                  <a:pt x="79375" y="245086"/>
                  <a:pt x="81523" y="242888"/>
                  <a:pt x="83671" y="242888"/>
                </a:cubicBezTo>
                <a:close/>
                <a:moveTo>
                  <a:pt x="236183" y="241515"/>
                </a:moveTo>
                <a:cubicBezTo>
                  <a:pt x="237998" y="242956"/>
                  <a:pt x="238361" y="245838"/>
                  <a:pt x="236546" y="248000"/>
                </a:cubicBezTo>
                <a:cubicBezTo>
                  <a:pt x="233641" y="250882"/>
                  <a:pt x="232552" y="254845"/>
                  <a:pt x="232552" y="258808"/>
                </a:cubicBezTo>
                <a:lnTo>
                  <a:pt x="232552" y="281866"/>
                </a:lnTo>
                <a:lnTo>
                  <a:pt x="283023" y="281866"/>
                </a:lnTo>
                <a:lnTo>
                  <a:pt x="283023" y="258808"/>
                </a:lnTo>
                <a:cubicBezTo>
                  <a:pt x="283023" y="254845"/>
                  <a:pt x="281570" y="250882"/>
                  <a:pt x="279029" y="248000"/>
                </a:cubicBezTo>
                <a:cubicBezTo>
                  <a:pt x="277213" y="245838"/>
                  <a:pt x="277939" y="242956"/>
                  <a:pt x="279392" y="241515"/>
                </a:cubicBezTo>
                <a:cubicBezTo>
                  <a:pt x="281570" y="239713"/>
                  <a:pt x="284475" y="240074"/>
                  <a:pt x="285928" y="242235"/>
                </a:cubicBezTo>
                <a:cubicBezTo>
                  <a:pt x="289559" y="246559"/>
                  <a:pt x="291737" y="252683"/>
                  <a:pt x="291737" y="258808"/>
                </a:cubicBezTo>
                <a:lnTo>
                  <a:pt x="291737" y="285830"/>
                </a:lnTo>
                <a:cubicBezTo>
                  <a:pt x="291737" y="288712"/>
                  <a:pt x="289922" y="290153"/>
                  <a:pt x="287743" y="290153"/>
                </a:cubicBezTo>
                <a:lnTo>
                  <a:pt x="228194" y="290153"/>
                </a:lnTo>
                <a:cubicBezTo>
                  <a:pt x="226016" y="290153"/>
                  <a:pt x="223837" y="288712"/>
                  <a:pt x="223837" y="285830"/>
                </a:cubicBezTo>
                <a:lnTo>
                  <a:pt x="223837" y="258808"/>
                </a:lnTo>
                <a:cubicBezTo>
                  <a:pt x="223837" y="252683"/>
                  <a:pt x="226016" y="246559"/>
                  <a:pt x="229647" y="242235"/>
                </a:cubicBezTo>
                <a:cubicBezTo>
                  <a:pt x="231462" y="240074"/>
                  <a:pt x="234367" y="239713"/>
                  <a:pt x="236183" y="241515"/>
                </a:cubicBezTo>
                <a:close/>
                <a:moveTo>
                  <a:pt x="12280" y="241515"/>
                </a:moveTo>
                <a:cubicBezTo>
                  <a:pt x="14447" y="242956"/>
                  <a:pt x="14808" y="245838"/>
                  <a:pt x="13002" y="248000"/>
                </a:cubicBezTo>
                <a:cubicBezTo>
                  <a:pt x="10835" y="250882"/>
                  <a:pt x="9029" y="254845"/>
                  <a:pt x="9029" y="258808"/>
                </a:cubicBezTo>
                <a:lnTo>
                  <a:pt x="9029" y="281866"/>
                </a:lnTo>
                <a:lnTo>
                  <a:pt x="59232" y="281866"/>
                </a:lnTo>
                <a:lnTo>
                  <a:pt x="59232" y="258808"/>
                </a:lnTo>
                <a:cubicBezTo>
                  <a:pt x="59232" y="254845"/>
                  <a:pt x="57788" y="250882"/>
                  <a:pt x="55259" y="248000"/>
                </a:cubicBezTo>
                <a:cubicBezTo>
                  <a:pt x="53454" y="245838"/>
                  <a:pt x="54176" y="242956"/>
                  <a:pt x="55982" y="241515"/>
                </a:cubicBezTo>
                <a:cubicBezTo>
                  <a:pt x="57788" y="239713"/>
                  <a:pt x="60677" y="240074"/>
                  <a:pt x="61761" y="242235"/>
                </a:cubicBezTo>
                <a:cubicBezTo>
                  <a:pt x="65734" y="246559"/>
                  <a:pt x="67901" y="252683"/>
                  <a:pt x="67901" y="258808"/>
                </a:cubicBezTo>
                <a:lnTo>
                  <a:pt x="67901" y="285830"/>
                </a:lnTo>
                <a:cubicBezTo>
                  <a:pt x="67901" y="288712"/>
                  <a:pt x="65734" y="290153"/>
                  <a:pt x="63566" y="290153"/>
                </a:cubicBezTo>
                <a:lnTo>
                  <a:pt x="4695" y="290153"/>
                </a:lnTo>
                <a:cubicBezTo>
                  <a:pt x="2528" y="290153"/>
                  <a:pt x="0" y="288712"/>
                  <a:pt x="0" y="285830"/>
                </a:cubicBezTo>
                <a:lnTo>
                  <a:pt x="0" y="258808"/>
                </a:lnTo>
                <a:cubicBezTo>
                  <a:pt x="0" y="252683"/>
                  <a:pt x="2528" y="246559"/>
                  <a:pt x="6140" y="242235"/>
                </a:cubicBezTo>
                <a:cubicBezTo>
                  <a:pt x="7946" y="240074"/>
                  <a:pt x="10835" y="239713"/>
                  <a:pt x="12280" y="241515"/>
                </a:cubicBezTo>
                <a:close/>
                <a:moveTo>
                  <a:pt x="256816" y="213690"/>
                </a:moveTo>
                <a:cubicBezTo>
                  <a:pt x="251065" y="213690"/>
                  <a:pt x="246752" y="217963"/>
                  <a:pt x="246752" y="223660"/>
                </a:cubicBezTo>
                <a:cubicBezTo>
                  <a:pt x="246752" y="229357"/>
                  <a:pt x="251065" y="233630"/>
                  <a:pt x="256816" y="233630"/>
                </a:cubicBezTo>
                <a:cubicBezTo>
                  <a:pt x="262926" y="233630"/>
                  <a:pt x="267599" y="229357"/>
                  <a:pt x="267599" y="223660"/>
                </a:cubicBezTo>
                <a:cubicBezTo>
                  <a:pt x="267599" y="217963"/>
                  <a:pt x="262926" y="213690"/>
                  <a:pt x="256816" y="213690"/>
                </a:cubicBezTo>
                <a:close/>
                <a:moveTo>
                  <a:pt x="34565" y="213690"/>
                </a:moveTo>
                <a:cubicBezTo>
                  <a:pt x="29174" y="213690"/>
                  <a:pt x="24501" y="217963"/>
                  <a:pt x="24501" y="223660"/>
                </a:cubicBezTo>
                <a:cubicBezTo>
                  <a:pt x="24501" y="229357"/>
                  <a:pt x="29174" y="233630"/>
                  <a:pt x="34565" y="233630"/>
                </a:cubicBezTo>
                <a:cubicBezTo>
                  <a:pt x="40316" y="233630"/>
                  <a:pt x="44629" y="229357"/>
                  <a:pt x="44629" y="223660"/>
                </a:cubicBezTo>
                <a:cubicBezTo>
                  <a:pt x="44629" y="217963"/>
                  <a:pt x="40316" y="213690"/>
                  <a:pt x="34565" y="213690"/>
                </a:cubicBezTo>
                <a:close/>
                <a:moveTo>
                  <a:pt x="256816" y="204788"/>
                </a:moveTo>
                <a:cubicBezTo>
                  <a:pt x="267599" y="204788"/>
                  <a:pt x="275866" y="213334"/>
                  <a:pt x="275866" y="223660"/>
                </a:cubicBezTo>
                <a:cubicBezTo>
                  <a:pt x="275866" y="234342"/>
                  <a:pt x="267599" y="242532"/>
                  <a:pt x="256816" y="242532"/>
                </a:cubicBezTo>
                <a:cubicBezTo>
                  <a:pt x="246752" y="242532"/>
                  <a:pt x="238125" y="234342"/>
                  <a:pt x="238125" y="223660"/>
                </a:cubicBezTo>
                <a:cubicBezTo>
                  <a:pt x="238125" y="213334"/>
                  <a:pt x="246752" y="204788"/>
                  <a:pt x="256816" y="204788"/>
                </a:cubicBezTo>
                <a:close/>
                <a:moveTo>
                  <a:pt x="34565" y="204788"/>
                </a:moveTo>
                <a:cubicBezTo>
                  <a:pt x="45348" y="204788"/>
                  <a:pt x="53615" y="213334"/>
                  <a:pt x="53615" y="223660"/>
                </a:cubicBezTo>
                <a:cubicBezTo>
                  <a:pt x="53615" y="234342"/>
                  <a:pt x="45348" y="242532"/>
                  <a:pt x="34565" y="242532"/>
                </a:cubicBezTo>
                <a:cubicBezTo>
                  <a:pt x="24142" y="242532"/>
                  <a:pt x="15875" y="234342"/>
                  <a:pt x="15875" y="223660"/>
                </a:cubicBezTo>
                <a:cubicBezTo>
                  <a:pt x="15875" y="213334"/>
                  <a:pt x="24142" y="204788"/>
                  <a:pt x="34565" y="204788"/>
                </a:cubicBezTo>
                <a:close/>
                <a:moveTo>
                  <a:pt x="188791" y="189157"/>
                </a:moveTo>
                <a:cubicBezTo>
                  <a:pt x="190622" y="187325"/>
                  <a:pt x="193553" y="187325"/>
                  <a:pt x="195385" y="189157"/>
                </a:cubicBezTo>
                <a:lnTo>
                  <a:pt x="228356" y="221762"/>
                </a:lnTo>
                <a:cubicBezTo>
                  <a:pt x="229821" y="223960"/>
                  <a:pt x="229821" y="226891"/>
                  <a:pt x="228356" y="228356"/>
                </a:cubicBezTo>
                <a:cubicBezTo>
                  <a:pt x="226890" y="229089"/>
                  <a:pt x="226157" y="229822"/>
                  <a:pt x="225058" y="229822"/>
                </a:cubicBezTo>
                <a:cubicBezTo>
                  <a:pt x="223593" y="229822"/>
                  <a:pt x="222860" y="229089"/>
                  <a:pt x="222128" y="228356"/>
                </a:cubicBezTo>
                <a:lnTo>
                  <a:pt x="188791" y="195751"/>
                </a:lnTo>
                <a:cubicBezTo>
                  <a:pt x="187325" y="193553"/>
                  <a:pt x="187325" y="190622"/>
                  <a:pt x="188791" y="189157"/>
                </a:cubicBezTo>
                <a:close/>
                <a:moveTo>
                  <a:pt x="96349" y="189157"/>
                </a:moveTo>
                <a:cubicBezTo>
                  <a:pt x="98180" y="187325"/>
                  <a:pt x="100745" y="187325"/>
                  <a:pt x="102577" y="189157"/>
                </a:cubicBezTo>
                <a:cubicBezTo>
                  <a:pt x="104408" y="190622"/>
                  <a:pt x="104408" y="193553"/>
                  <a:pt x="102577" y="195751"/>
                </a:cubicBezTo>
                <a:lnTo>
                  <a:pt x="69971" y="228356"/>
                </a:lnTo>
                <a:cubicBezTo>
                  <a:pt x="68872" y="229089"/>
                  <a:pt x="67773" y="229822"/>
                  <a:pt x="66674" y="229822"/>
                </a:cubicBezTo>
                <a:cubicBezTo>
                  <a:pt x="65575" y="229822"/>
                  <a:pt x="64476" y="229089"/>
                  <a:pt x="63744" y="228356"/>
                </a:cubicBezTo>
                <a:cubicBezTo>
                  <a:pt x="61912" y="226891"/>
                  <a:pt x="61912" y="223960"/>
                  <a:pt x="63744" y="221762"/>
                </a:cubicBezTo>
                <a:lnTo>
                  <a:pt x="96349" y="189157"/>
                </a:lnTo>
                <a:close/>
                <a:moveTo>
                  <a:pt x="123405" y="141862"/>
                </a:moveTo>
                <a:cubicBezTo>
                  <a:pt x="125572" y="142943"/>
                  <a:pt x="125572" y="145825"/>
                  <a:pt x="123766" y="147987"/>
                </a:cubicBezTo>
                <a:cubicBezTo>
                  <a:pt x="121599" y="150509"/>
                  <a:pt x="120154" y="154832"/>
                  <a:pt x="120154" y="158795"/>
                </a:cubicBezTo>
                <a:lnTo>
                  <a:pt x="120154" y="181493"/>
                </a:lnTo>
                <a:lnTo>
                  <a:pt x="169996" y="181493"/>
                </a:lnTo>
                <a:lnTo>
                  <a:pt x="169996" y="158795"/>
                </a:lnTo>
                <a:cubicBezTo>
                  <a:pt x="169996" y="154832"/>
                  <a:pt x="168913" y="150509"/>
                  <a:pt x="166023" y="147987"/>
                </a:cubicBezTo>
                <a:cubicBezTo>
                  <a:pt x="164217" y="145825"/>
                  <a:pt x="164940" y="142943"/>
                  <a:pt x="166746" y="141862"/>
                </a:cubicBezTo>
                <a:cubicBezTo>
                  <a:pt x="168552" y="140061"/>
                  <a:pt x="171802" y="140421"/>
                  <a:pt x="172886" y="142222"/>
                </a:cubicBezTo>
                <a:cubicBezTo>
                  <a:pt x="176498" y="146546"/>
                  <a:pt x="179026" y="152670"/>
                  <a:pt x="179026" y="158795"/>
                </a:cubicBezTo>
                <a:lnTo>
                  <a:pt x="179026" y="186177"/>
                </a:lnTo>
                <a:cubicBezTo>
                  <a:pt x="179026" y="188699"/>
                  <a:pt x="176859" y="190140"/>
                  <a:pt x="174691" y="190140"/>
                </a:cubicBezTo>
                <a:lnTo>
                  <a:pt x="115820" y="190140"/>
                </a:lnTo>
                <a:cubicBezTo>
                  <a:pt x="113292" y="190140"/>
                  <a:pt x="111125" y="188699"/>
                  <a:pt x="111125" y="186177"/>
                </a:cubicBezTo>
                <a:lnTo>
                  <a:pt x="111125" y="158795"/>
                </a:lnTo>
                <a:cubicBezTo>
                  <a:pt x="111125" y="152670"/>
                  <a:pt x="113292" y="146546"/>
                  <a:pt x="117265" y="142222"/>
                </a:cubicBezTo>
                <a:cubicBezTo>
                  <a:pt x="118709" y="140421"/>
                  <a:pt x="121599" y="139700"/>
                  <a:pt x="123405" y="141862"/>
                </a:cubicBezTo>
                <a:close/>
                <a:moveTo>
                  <a:pt x="145872" y="114990"/>
                </a:moveTo>
                <a:cubicBezTo>
                  <a:pt x="140175" y="114990"/>
                  <a:pt x="135902" y="119662"/>
                  <a:pt x="135902" y="125054"/>
                </a:cubicBezTo>
                <a:cubicBezTo>
                  <a:pt x="135902" y="130805"/>
                  <a:pt x="140175" y="135118"/>
                  <a:pt x="145872" y="135118"/>
                </a:cubicBezTo>
                <a:cubicBezTo>
                  <a:pt x="151569" y="135118"/>
                  <a:pt x="155842" y="130805"/>
                  <a:pt x="155842" y="125054"/>
                </a:cubicBezTo>
                <a:cubicBezTo>
                  <a:pt x="155842" y="119662"/>
                  <a:pt x="151569" y="114990"/>
                  <a:pt x="145872" y="114990"/>
                </a:cubicBezTo>
                <a:close/>
                <a:moveTo>
                  <a:pt x="145872" y="106363"/>
                </a:moveTo>
                <a:cubicBezTo>
                  <a:pt x="156554" y="106363"/>
                  <a:pt x="164744" y="114271"/>
                  <a:pt x="164744" y="125054"/>
                </a:cubicBezTo>
                <a:cubicBezTo>
                  <a:pt x="164744" y="135477"/>
                  <a:pt x="156554" y="144104"/>
                  <a:pt x="145872" y="144104"/>
                </a:cubicBezTo>
                <a:cubicBezTo>
                  <a:pt x="135546" y="144104"/>
                  <a:pt x="127000" y="135477"/>
                  <a:pt x="127000" y="125054"/>
                </a:cubicBezTo>
                <a:cubicBezTo>
                  <a:pt x="127000" y="114271"/>
                  <a:pt x="135546" y="106363"/>
                  <a:pt x="145872" y="106363"/>
                </a:cubicBezTo>
                <a:close/>
                <a:moveTo>
                  <a:pt x="256603" y="96838"/>
                </a:moveTo>
                <a:cubicBezTo>
                  <a:pt x="259270" y="96838"/>
                  <a:pt x="261556" y="98998"/>
                  <a:pt x="261556" y="101158"/>
                </a:cubicBezTo>
                <a:lnTo>
                  <a:pt x="261556" y="189355"/>
                </a:lnTo>
                <a:cubicBezTo>
                  <a:pt x="261556" y="191875"/>
                  <a:pt x="259270" y="193315"/>
                  <a:pt x="256603" y="193315"/>
                </a:cubicBezTo>
                <a:cubicBezTo>
                  <a:pt x="254317" y="193315"/>
                  <a:pt x="252412" y="191875"/>
                  <a:pt x="252412" y="189355"/>
                </a:cubicBezTo>
                <a:lnTo>
                  <a:pt x="252412" y="101158"/>
                </a:lnTo>
                <a:cubicBezTo>
                  <a:pt x="252412" y="98998"/>
                  <a:pt x="254317" y="96838"/>
                  <a:pt x="256603" y="96838"/>
                </a:cubicBezTo>
                <a:close/>
                <a:moveTo>
                  <a:pt x="34558" y="96838"/>
                </a:moveTo>
                <a:cubicBezTo>
                  <a:pt x="37122" y="96838"/>
                  <a:pt x="39320" y="98998"/>
                  <a:pt x="39320" y="101158"/>
                </a:cubicBezTo>
                <a:lnTo>
                  <a:pt x="39320" y="189355"/>
                </a:lnTo>
                <a:cubicBezTo>
                  <a:pt x="39320" y="191875"/>
                  <a:pt x="37122" y="193315"/>
                  <a:pt x="34558" y="193315"/>
                </a:cubicBezTo>
                <a:cubicBezTo>
                  <a:pt x="31993" y="193315"/>
                  <a:pt x="30162" y="191875"/>
                  <a:pt x="30162" y="189355"/>
                </a:cubicBezTo>
                <a:lnTo>
                  <a:pt x="30162" y="101158"/>
                </a:lnTo>
                <a:cubicBezTo>
                  <a:pt x="30162" y="98998"/>
                  <a:pt x="31993" y="96838"/>
                  <a:pt x="34558" y="96838"/>
                </a:cubicBezTo>
                <a:close/>
                <a:moveTo>
                  <a:pt x="204410" y="81201"/>
                </a:moveTo>
                <a:cubicBezTo>
                  <a:pt x="206218" y="79375"/>
                  <a:pt x="208387" y="79375"/>
                  <a:pt x="210556" y="81201"/>
                </a:cubicBezTo>
                <a:cubicBezTo>
                  <a:pt x="212364" y="82661"/>
                  <a:pt x="212364" y="85582"/>
                  <a:pt x="210556" y="87408"/>
                </a:cubicBezTo>
                <a:lnTo>
                  <a:pt x="184166" y="114063"/>
                </a:lnTo>
                <a:cubicBezTo>
                  <a:pt x="183081" y="114793"/>
                  <a:pt x="181996" y="115523"/>
                  <a:pt x="180912" y="115523"/>
                </a:cubicBezTo>
                <a:cubicBezTo>
                  <a:pt x="179466" y="115523"/>
                  <a:pt x="178743" y="114793"/>
                  <a:pt x="177297" y="114063"/>
                </a:cubicBezTo>
                <a:cubicBezTo>
                  <a:pt x="176212" y="112602"/>
                  <a:pt x="176212" y="109681"/>
                  <a:pt x="177297" y="107855"/>
                </a:cubicBezTo>
                <a:lnTo>
                  <a:pt x="204410" y="81201"/>
                </a:lnTo>
                <a:close/>
                <a:moveTo>
                  <a:pt x="80835" y="81201"/>
                </a:moveTo>
                <a:cubicBezTo>
                  <a:pt x="82661" y="79375"/>
                  <a:pt x="85947" y="79375"/>
                  <a:pt x="87042" y="81201"/>
                </a:cubicBezTo>
                <a:lnTo>
                  <a:pt x="114061" y="107855"/>
                </a:lnTo>
                <a:cubicBezTo>
                  <a:pt x="115522" y="109681"/>
                  <a:pt x="115522" y="112602"/>
                  <a:pt x="114061" y="114063"/>
                </a:cubicBezTo>
                <a:cubicBezTo>
                  <a:pt x="113331" y="114793"/>
                  <a:pt x="111870" y="115523"/>
                  <a:pt x="111140" y="115523"/>
                </a:cubicBezTo>
                <a:cubicBezTo>
                  <a:pt x="109680" y="115523"/>
                  <a:pt x="108584" y="114793"/>
                  <a:pt x="107854" y="114063"/>
                </a:cubicBezTo>
                <a:lnTo>
                  <a:pt x="80835" y="87408"/>
                </a:lnTo>
                <a:cubicBezTo>
                  <a:pt x="79375" y="85582"/>
                  <a:pt x="79375" y="82661"/>
                  <a:pt x="80835" y="81201"/>
                </a:cubicBezTo>
                <a:close/>
                <a:moveTo>
                  <a:pt x="83671" y="38100"/>
                </a:moveTo>
                <a:lnTo>
                  <a:pt x="206125" y="38100"/>
                </a:lnTo>
                <a:cubicBezTo>
                  <a:pt x="208631" y="38100"/>
                  <a:pt x="210779" y="40386"/>
                  <a:pt x="210779" y="42672"/>
                </a:cubicBezTo>
                <a:cubicBezTo>
                  <a:pt x="210779" y="45339"/>
                  <a:pt x="208631" y="47244"/>
                  <a:pt x="206125" y="47244"/>
                </a:cubicBezTo>
                <a:lnTo>
                  <a:pt x="83671" y="47244"/>
                </a:lnTo>
                <a:cubicBezTo>
                  <a:pt x="81523" y="47244"/>
                  <a:pt x="79375" y="45339"/>
                  <a:pt x="79375" y="42672"/>
                </a:cubicBezTo>
                <a:cubicBezTo>
                  <a:pt x="79375" y="40386"/>
                  <a:pt x="81523" y="38100"/>
                  <a:pt x="83671" y="38100"/>
                </a:cubicBezTo>
                <a:close/>
                <a:moveTo>
                  <a:pt x="236183" y="36366"/>
                </a:moveTo>
                <a:cubicBezTo>
                  <a:pt x="237998" y="38167"/>
                  <a:pt x="238361" y="41050"/>
                  <a:pt x="236546" y="42491"/>
                </a:cubicBezTo>
                <a:cubicBezTo>
                  <a:pt x="233641" y="45733"/>
                  <a:pt x="232552" y="50057"/>
                  <a:pt x="232552" y="54020"/>
                </a:cubicBezTo>
                <a:lnTo>
                  <a:pt x="232552" y="76718"/>
                </a:lnTo>
                <a:lnTo>
                  <a:pt x="283023" y="76718"/>
                </a:lnTo>
                <a:lnTo>
                  <a:pt x="283023" y="54020"/>
                </a:lnTo>
                <a:cubicBezTo>
                  <a:pt x="283023" y="50057"/>
                  <a:pt x="281570" y="45733"/>
                  <a:pt x="279029" y="42491"/>
                </a:cubicBezTo>
                <a:cubicBezTo>
                  <a:pt x="277213" y="41050"/>
                  <a:pt x="277939" y="38167"/>
                  <a:pt x="279392" y="36366"/>
                </a:cubicBezTo>
                <a:cubicBezTo>
                  <a:pt x="281570" y="34925"/>
                  <a:pt x="284475" y="35285"/>
                  <a:pt x="285928" y="37447"/>
                </a:cubicBezTo>
                <a:cubicBezTo>
                  <a:pt x="289559" y="41770"/>
                  <a:pt x="291737" y="47895"/>
                  <a:pt x="291737" y="54020"/>
                </a:cubicBezTo>
                <a:lnTo>
                  <a:pt x="291737" y="81042"/>
                </a:lnTo>
                <a:cubicBezTo>
                  <a:pt x="291737" y="83924"/>
                  <a:pt x="289922" y="85365"/>
                  <a:pt x="287743" y="85365"/>
                </a:cubicBezTo>
                <a:lnTo>
                  <a:pt x="228194" y="85365"/>
                </a:lnTo>
                <a:cubicBezTo>
                  <a:pt x="226016" y="85365"/>
                  <a:pt x="223837" y="83924"/>
                  <a:pt x="223837" y="81042"/>
                </a:cubicBezTo>
                <a:lnTo>
                  <a:pt x="223837" y="54020"/>
                </a:lnTo>
                <a:cubicBezTo>
                  <a:pt x="223837" y="47895"/>
                  <a:pt x="226016" y="41770"/>
                  <a:pt x="229647" y="37447"/>
                </a:cubicBezTo>
                <a:cubicBezTo>
                  <a:pt x="231462" y="35285"/>
                  <a:pt x="234367" y="34925"/>
                  <a:pt x="236183" y="36366"/>
                </a:cubicBezTo>
                <a:close/>
                <a:moveTo>
                  <a:pt x="12280" y="36366"/>
                </a:moveTo>
                <a:cubicBezTo>
                  <a:pt x="14447" y="38167"/>
                  <a:pt x="14808" y="41050"/>
                  <a:pt x="13002" y="42491"/>
                </a:cubicBezTo>
                <a:cubicBezTo>
                  <a:pt x="10835" y="45733"/>
                  <a:pt x="9029" y="50057"/>
                  <a:pt x="9029" y="54020"/>
                </a:cubicBezTo>
                <a:lnTo>
                  <a:pt x="9029" y="76718"/>
                </a:lnTo>
                <a:lnTo>
                  <a:pt x="58871" y="76718"/>
                </a:lnTo>
                <a:lnTo>
                  <a:pt x="58871" y="54020"/>
                </a:lnTo>
                <a:cubicBezTo>
                  <a:pt x="58871" y="50057"/>
                  <a:pt x="57788" y="45733"/>
                  <a:pt x="55259" y="42491"/>
                </a:cubicBezTo>
                <a:cubicBezTo>
                  <a:pt x="53454" y="41050"/>
                  <a:pt x="54176" y="38167"/>
                  <a:pt x="55982" y="36366"/>
                </a:cubicBezTo>
                <a:cubicBezTo>
                  <a:pt x="57788" y="34925"/>
                  <a:pt x="60677" y="35285"/>
                  <a:pt x="61761" y="37447"/>
                </a:cubicBezTo>
                <a:cubicBezTo>
                  <a:pt x="65734" y="41770"/>
                  <a:pt x="67901" y="47895"/>
                  <a:pt x="67901" y="54020"/>
                </a:cubicBezTo>
                <a:lnTo>
                  <a:pt x="67901" y="81042"/>
                </a:lnTo>
                <a:cubicBezTo>
                  <a:pt x="67901" y="83924"/>
                  <a:pt x="65734" y="85365"/>
                  <a:pt x="63566" y="85365"/>
                </a:cubicBezTo>
                <a:lnTo>
                  <a:pt x="4695" y="85365"/>
                </a:lnTo>
                <a:cubicBezTo>
                  <a:pt x="2528" y="85365"/>
                  <a:pt x="0" y="83924"/>
                  <a:pt x="0" y="81042"/>
                </a:cubicBezTo>
                <a:lnTo>
                  <a:pt x="0" y="54020"/>
                </a:lnTo>
                <a:cubicBezTo>
                  <a:pt x="0" y="47895"/>
                  <a:pt x="2528" y="41770"/>
                  <a:pt x="6140" y="37447"/>
                </a:cubicBezTo>
                <a:cubicBezTo>
                  <a:pt x="7946" y="35285"/>
                  <a:pt x="10835" y="34925"/>
                  <a:pt x="12280" y="36366"/>
                </a:cubicBezTo>
                <a:close/>
                <a:moveTo>
                  <a:pt x="256816" y="8902"/>
                </a:moveTo>
                <a:cubicBezTo>
                  <a:pt x="251065" y="8902"/>
                  <a:pt x="246752" y="13175"/>
                  <a:pt x="246752" y="18872"/>
                </a:cubicBezTo>
                <a:cubicBezTo>
                  <a:pt x="246752" y="24569"/>
                  <a:pt x="251065" y="29198"/>
                  <a:pt x="256816" y="29198"/>
                </a:cubicBezTo>
                <a:cubicBezTo>
                  <a:pt x="262926" y="29198"/>
                  <a:pt x="267599" y="24569"/>
                  <a:pt x="267599" y="18872"/>
                </a:cubicBezTo>
                <a:cubicBezTo>
                  <a:pt x="267599" y="13175"/>
                  <a:pt x="262926" y="8902"/>
                  <a:pt x="256816" y="8902"/>
                </a:cubicBezTo>
                <a:close/>
                <a:moveTo>
                  <a:pt x="34565" y="8902"/>
                </a:moveTo>
                <a:cubicBezTo>
                  <a:pt x="29174" y="8902"/>
                  <a:pt x="24501" y="13175"/>
                  <a:pt x="24501" y="18872"/>
                </a:cubicBezTo>
                <a:cubicBezTo>
                  <a:pt x="24501" y="24569"/>
                  <a:pt x="29174" y="29198"/>
                  <a:pt x="34565" y="29198"/>
                </a:cubicBezTo>
                <a:cubicBezTo>
                  <a:pt x="40316" y="29198"/>
                  <a:pt x="44629" y="24569"/>
                  <a:pt x="44629" y="18872"/>
                </a:cubicBezTo>
                <a:cubicBezTo>
                  <a:pt x="44629" y="13175"/>
                  <a:pt x="40316" y="8902"/>
                  <a:pt x="34565" y="8902"/>
                </a:cubicBezTo>
                <a:close/>
                <a:moveTo>
                  <a:pt x="256816" y="0"/>
                </a:moveTo>
                <a:cubicBezTo>
                  <a:pt x="267599" y="0"/>
                  <a:pt x="275866" y="8189"/>
                  <a:pt x="275866" y="18872"/>
                </a:cubicBezTo>
                <a:cubicBezTo>
                  <a:pt x="275866" y="29198"/>
                  <a:pt x="267599" y="37744"/>
                  <a:pt x="256816" y="37744"/>
                </a:cubicBezTo>
                <a:cubicBezTo>
                  <a:pt x="246752" y="37744"/>
                  <a:pt x="238125" y="29198"/>
                  <a:pt x="238125" y="18872"/>
                </a:cubicBezTo>
                <a:cubicBezTo>
                  <a:pt x="238125" y="8189"/>
                  <a:pt x="246752" y="0"/>
                  <a:pt x="256816" y="0"/>
                </a:cubicBezTo>
                <a:close/>
                <a:moveTo>
                  <a:pt x="34565" y="0"/>
                </a:moveTo>
                <a:cubicBezTo>
                  <a:pt x="45348" y="0"/>
                  <a:pt x="53615" y="8189"/>
                  <a:pt x="53615" y="18872"/>
                </a:cubicBezTo>
                <a:cubicBezTo>
                  <a:pt x="53615" y="29198"/>
                  <a:pt x="45348" y="37744"/>
                  <a:pt x="34565" y="37744"/>
                </a:cubicBezTo>
                <a:cubicBezTo>
                  <a:pt x="24142" y="37744"/>
                  <a:pt x="15875" y="29198"/>
                  <a:pt x="15875" y="18872"/>
                </a:cubicBezTo>
                <a:cubicBezTo>
                  <a:pt x="15875" y="8189"/>
                  <a:pt x="24142" y="0"/>
                  <a:pt x="3456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2" name="Freeform 1021">
            <a:extLst>
              <a:ext uri="{FF2B5EF4-FFF2-40B4-BE49-F238E27FC236}">
                <a16:creationId xmlns:a16="http://schemas.microsoft.com/office/drawing/2014/main" id="{5718FFF6-E1E5-0F4C-B677-FF958BD52D7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13195" y="841755"/>
            <a:ext cx="526257" cy="527050"/>
          </a:xfrm>
          <a:custGeom>
            <a:avLst/>
            <a:gdLst>
              <a:gd name="T0" fmla="*/ 69401580 w 290150"/>
              <a:gd name="T1" fmla="*/ 121905821 h 290152"/>
              <a:gd name="T2" fmla="*/ 101735209 w 290150"/>
              <a:gd name="T3" fmla="*/ 104566787 h 290152"/>
              <a:gd name="T4" fmla="*/ 122048015 w 290150"/>
              <a:gd name="T5" fmla="*/ 121907862 h 290152"/>
              <a:gd name="T6" fmla="*/ 123308159 w 290150"/>
              <a:gd name="T7" fmla="*/ 104878861 h 290152"/>
              <a:gd name="T8" fmla="*/ 98428740 w 290150"/>
              <a:gd name="T9" fmla="*/ 125812788 h 290152"/>
              <a:gd name="T10" fmla="*/ 101735209 w 290150"/>
              <a:gd name="T11" fmla="*/ 104566787 h 290152"/>
              <a:gd name="T12" fmla="*/ 3711393 w 290150"/>
              <a:gd name="T13" fmla="*/ 121907862 h 290152"/>
              <a:gd name="T14" fmla="*/ 23657262 w 290150"/>
              <a:gd name="T15" fmla="*/ 104566787 h 290152"/>
              <a:gd name="T16" fmla="*/ 26904877 w 290150"/>
              <a:gd name="T17" fmla="*/ 125812788 h 290152"/>
              <a:gd name="T18" fmla="*/ 2629532 w 290150"/>
              <a:gd name="T19" fmla="*/ 104878861 h 290152"/>
              <a:gd name="T20" fmla="*/ 80814075 w 290150"/>
              <a:gd name="T21" fmla="*/ 110495926 h 290152"/>
              <a:gd name="T22" fmla="*/ 106318684 w 290150"/>
              <a:gd name="T23" fmla="*/ 97058230 h 290152"/>
              <a:gd name="T24" fmla="*/ 14300614 w 290150"/>
              <a:gd name="T25" fmla="*/ 92538574 h 290152"/>
              <a:gd name="T26" fmla="*/ 14300614 w 290150"/>
              <a:gd name="T27" fmla="*/ 92538574 h 290152"/>
              <a:gd name="T28" fmla="*/ 102577386 w 290150"/>
              <a:gd name="T29" fmla="*/ 97058230 h 290152"/>
              <a:gd name="T30" fmla="*/ 14300614 w 290150"/>
              <a:gd name="T31" fmla="*/ 105162994 h 290152"/>
              <a:gd name="T32" fmla="*/ 57207559 w 290150"/>
              <a:gd name="T33" fmla="*/ 99086212 h 290152"/>
              <a:gd name="T34" fmla="*/ 76124319 w 290150"/>
              <a:gd name="T35" fmla="*/ 71108083 h 290152"/>
              <a:gd name="T36" fmla="*/ 80032537 w 290150"/>
              <a:gd name="T37" fmla="*/ 74859260 h 290152"/>
              <a:gd name="T38" fmla="*/ 49547474 w 290150"/>
              <a:gd name="T39" fmla="*/ 78766754 h 290152"/>
              <a:gd name="T40" fmla="*/ 7803059 w 290150"/>
              <a:gd name="T41" fmla="*/ 43366069 h 290152"/>
              <a:gd name="T42" fmla="*/ 8874038 w 290150"/>
              <a:gd name="T43" fmla="*/ 85731906 h 290152"/>
              <a:gd name="T44" fmla="*/ 0 w 290150"/>
              <a:gd name="T45" fmla="*/ 51338760 h 290152"/>
              <a:gd name="T46" fmla="*/ 121572332 w 290150"/>
              <a:gd name="T47" fmla="*/ 75808223 h 290152"/>
              <a:gd name="T48" fmla="*/ 117848892 w 290150"/>
              <a:gd name="T49" fmla="*/ 74564562 h 290152"/>
              <a:gd name="T50" fmla="*/ 87807546 w 290150"/>
              <a:gd name="T51" fmla="*/ 58917106 h 290152"/>
              <a:gd name="T52" fmla="*/ 62460013 w 290150"/>
              <a:gd name="T53" fmla="*/ 41082802 h 290152"/>
              <a:gd name="T54" fmla="*/ 29224563 w 290150"/>
              <a:gd name="T55" fmla="*/ 62824121 h 290152"/>
              <a:gd name="T56" fmla="*/ 53456051 w 290150"/>
              <a:gd name="T57" fmla="*/ 82518084 h 290152"/>
              <a:gd name="T58" fmla="*/ 57207559 w 290150"/>
              <a:gd name="T59" fmla="*/ 74859260 h 290152"/>
              <a:gd name="T60" fmla="*/ 76124319 w 290150"/>
              <a:gd name="T61" fmla="*/ 67356844 h 290152"/>
              <a:gd name="T62" fmla="*/ 72372353 w 290150"/>
              <a:gd name="T63" fmla="*/ 99086212 h 290152"/>
              <a:gd name="T64" fmla="*/ 62835889 w 290150"/>
              <a:gd name="T65" fmla="*/ 29220374 h 290152"/>
              <a:gd name="T66" fmla="*/ 84722256 w 290150"/>
              <a:gd name="T67" fmla="*/ 101430210 h 290152"/>
              <a:gd name="T68" fmla="*/ 78938244 w 290150"/>
              <a:gd name="T69" fmla="*/ 116279211 h 290152"/>
              <a:gd name="T70" fmla="*/ 47203090 w 290150"/>
              <a:gd name="T71" fmla="*/ 114246758 h 290152"/>
              <a:gd name="T72" fmla="*/ 36415736 w 290150"/>
              <a:gd name="T73" fmla="*/ 89238866 h 290152"/>
              <a:gd name="T74" fmla="*/ 102050172 w 290150"/>
              <a:gd name="T75" fmla="*/ 18424697 h 290152"/>
              <a:gd name="T76" fmla="*/ 122048015 w 290150"/>
              <a:gd name="T77" fmla="*/ 23268009 h 290152"/>
              <a:gd name="T78" fmla="*/ 125826538 w 290150"/>
              <a:gd name="T79" fmla="*/ 23268009 h 290152"/>
              <a:gd name="T80" fmla="*/ 96381088 w 290150"/>
              <a:gd name="T81" fmla="*/ 35140894 h 290152"/>
              <a:gd name="T82" fmla="*/ 5103055 w 290150"/>
              <a:gd name="T83" fmla="*/ 15925338 h 290152"/>
              <a:gd name="T84" fmla="*/ 25048641 w 290150"/>
              <a:gd name="T85" fmla="*/ 33265548 h 290152"/>
              <a:gd name="T86" fmla="*/ 26285795 w 290150"/>
              <a:gd name="T87" fmla="*/ 16080347 h 290152"/>
              <a:gd name="T88" fmla="*/ 1854307 w 290150"/>
              <a:gd name="T89" fmla="*/ 37015182 h 290152"/>
              <a:gd name="T90" fmla="*/ 5103055 w 290150"/>
              <a:gd name="T91" fmla="*/ 15925338 h 290152"/>
              <a:gd name="T92" fmla="*/ 115203078 w 290150"/>
              <a:gd name="T93" fmla="*/ 8183128 h 290152"/>
              <a:gd name="T94" fmla="*/ 14300614 w 290150"/>
              <a:gd name="T95" fmla="*/ 12660410 h 290152"/>
              <a:gd name="T96" fmla="*/ 85475857 w 290150"/>
              <a:gd name="T97" fmla="*/ 7107584 h 290152"/>
              <a:gd name="T98" fmla="*/ 83908002 w 290150"/>
              <a:gd name="T99" fmla="*/ 10353978 h 290152"/>
              <a:gd name="T100" fmla="*/ 31389377 w 290150"/>
              <a:gd name="T101" fmla="*/ 11435744 h 290152"/>
              <a:gd name="T102" fmla="*/ 110839091 w 290150"/>
              <a:gd name="T103" fmla="*/ 16366151 h 290152"/>
              <a:gd name="T104" fmla="*/ 22561810 w 290150"/>
              <a:gd name="T105" fmla="*/ 8183128 h 29015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90150" h="290152">
                <a:moveTo>
                  <a:pt x="117499" y="263478"/>
                </a:moveTo>
                <a:lnTo>
                  <a:pt x="117499" y="268164"/>
                </a:lnTo>
                <a:cubicBezTo>
                  <a:pt x="117499" y="275373"/>
                  <a:pt x="123627" y="281140"/>
                  <a:pt x="130837" y="281140"/>
                </a:cubicBezTo>
                <a:lnTo>
                  <a:pt x="160037" y="281140"/>
                </a:lnTo>
                <a:cubicBezTo>
                  <a:pt x="167247" y="281140"/>
                  <a:pt x="173015" y="275373"/>
                  <a:pt x="173015" y="268164"/>
                </a:cubicBezTo>
                <a:lnTo>
                  <a:pt x="173015" y="263478"/>
                </a:lnTo>
                <a:lnTo>
                  <a:pt x="117499" y="263478"/>
                </a:lnTo>
                <a:close/>
                <a:moveTo>
                  <a:pt x="234596" y="241153"/>
                </a:moveTo>
                <a:cubicBezTo>
                  <a:pt x="236774" y="242955"/>
                  <a:pt x="236774" y="245477"/>
                  <a:pt x="235322" y="247278"/>
                </a:cubicBezTo>
                <a:cubicBezTo>
                  <a:pt x="232417" y="250521"/>
                  <a:pt x="231328" y="254124"/>
                  <a:pt x="231328" y="258447"/>
                </a:cubicBezTo>
                <a:lnTo>
                  <a:pt x="231328" y="281145"/>
                </a:lnTo>
                <a:lnTo>
                  <a:pt x="281436" y="281145"/>
                </a:lnTo>
                <a:lnTo>
                  <a:pt x="281436" y="258447"/>
                </a:lnTo>
                <a:cubicBezTo>
                  <a:pt x="281436" y="254124"/>
                  <a:pt x="279983" y="250521"/>
                  <a:pt x="277442" y="247278"/>
                </a:cubicBezTo>
                <a:cubicBezTo>
                  <a:pt x="275626" y="245477"/>
                  <a:pt x="275989" y="242955"/>
                  <a:pt x="278168" y="241153"/>
                </a:cubicBezTo>
                <a:cubicBezTo>
                  <a:pt x="279983" y="239712"/>
                  <a:pt x="282525" y="239712"/>
                  <a:pt x="284341" y="241874"/>
                </a:cubicBezTo>
                <a:cubicBezTo>
                  <a:pt x="287972" y="246558"/>
                  <a:pt x="290150" y="252322"/>
                  <a:pt x="290150" y="258447"/>
                </a:cubicBezTo>
                <a:lnTo>
                  <a:pt x="290150" y="285829"/>
                </a:lnTo>
                <a:cubicBezTo>
                  <a:pt x="290150" y="287990"/>
                  <a:pt x="288335" y="290152"/>
                  <a:pt x="285793" y="290152"/>
                </a:cubicBezTo>
                <a:lnTo>
                  <a:pt x="226971" y="290152"/>
                </a:lnTo>
                <a:cubicBezTo>
                  <a:pt x="224429" y="290152"/>
                  <a:pt x="222250" y="287990"/>
                  <a:pt x="222250" y="285829"/>
                </a:cubicBezTo>
                <a:lnTo>
                  <a:pt x="222250" y="258447"/>
                </a:lnTo>
                <a:cubicBezTo>
                  <a:pt x="222250" y="252322"/>
                  <a:pt x="224429" y="246558"/>
                  <a:pt x="228423" y="241874"/>
                </a:cubicBezTo>
                <a:cubicBezTo>
                  <a:pt x="229875" y="239712"/>
                  <a:pt x="232780" y="239712"/>
                  <a:pt x="234596" y="241153"/>
                </a:cubicBezTo>
                <a:close/>
                <a:moveTo>
                  <a:pt x="11766" y="241153"/>
                </a:moveTo>
                <a:cubicBezTo>
                  <a:pt x="13905" y="242955"/>
                  <a:pt x="14262" y="245477"/>
                  <a:pt x="12479" y="247278"/>
                </a:cubicBezTo>
                <a:cubicBezTo>
                  <a:pt x="9983" y="250521"/>
                  <a:pt x="8557" y="254124"/>
                  <a:pt x="8557" y="258447"/>
                </a:cubicBezTo>
                <a:lnTo>
                  <a:pt x="8557" y="281145"/>
                </a:lnTo>
                <a:lnTo>
                  <a:pt x="57761" y="281145"/>
                </a:lnTo>
                <a:lnTo>
                  <a:pt x="57761" y="258447"/>
                </a:lnTo>
                <a:cubicBezTo>
                  <a:pt x="57761" y="254124"/>
                  <a:pt x="56335" y="250521"/>
                  <a:pt x="53839" y="247278"/>
                </a:cubicBezTo>
                <a:cubicBezTo>
                  <a:pt x="52413" y="245477"/>
                  <a:pt x="52413" y="242955"/>
                  <a:pt x="54552" y="241153"/>
                </a:cubicBezTo>
                <a:cubicBezTo>
                  <a:pt x="56335" y="239712"/>
                  <a:pt x="59188" y="239712"/>
                  <a:pt x="60614" y="241874"/>
                </a:cubicBezTo>
                <a:cubicBezTo>
                  <a:pt x="64179" y="246558"/>
                  <a:pt x="66319" y="252322"/>
                  <a:pt x="66319" y="258447"/>
                </a:cubicBezTo>
                <a:lnTo>
                  <a:pt x="66319" y="285829"/>
                </a:lnTo>
                <a:cubicBezTo>
                  <a:pt x="66319" y="287990"/>
                  <a:pt x="64536" y="290152"/>
                  <a:pt x="62040" y="290152"/>
                </a:cubicBezTo>
                <a:lnTo>
                  <a:pt x="4278" y="290152"/>
                </a:lnTo>
                <a:cubicBezTo>
                  <a:pt x="1783" y="290152"/>
                  <a:pt x="0" y="287990"/>
                  <a:pt x="0" y="285829"/>
                </a:cubicBezTo>
                <a:lnTo>
                  <a:pt x="0" y="258447"/>
                </a:lnTo>
                <a:cubicBezTo>
                  <a:pt x="0" y="252322"/>
                  <a:pt x="2139" y="246558"/>
                  <a:pt x="6061" y="241874"/>
                </a:cubicBezTo>
                <a:cubicBezTo>
                  <a:pt x="7487" y="239712"/>
                  <a:pt x="9983" y="239712"/>
                  <a:pt x="11766" y="241153"/>
                </a:cubicBezTo>
                <a:close/>
                <a:moveTo>
                  <a:pt x="104160" y="237525"/>
                </a:moveTo>
                <a:lnTo>
                  <a:pt x="104160" y="254827"/>
                </a:lnTo>
                <a:lnTo>
                  <a:pt x="186353" y="254827"/>
                </a:lnTo>
                <a:lnTo>
                  <a:pt x="186353" y="237525"/>
                </a:lnTo>
                <a:lnTo>
                  <a:pt x="104160" y="237525"/>
                </a:lnTo>
                <a:close/>
                <a:moveTo>
                  <a:pt x="255588" y="213414"/>
                </a:moveTo>
                <a:cubicBezTo>
                  <a:pt x="249837" y="213414"/>
                  <a:pt x="245165" y="218086"/>
                  <a:pt x="245165" y="223837"/>
                </a:cubicBezTo>
                <a:cubicBezTo>
                  <a:pt x="245165" y="229229"/>
                  <a:pt x="249837" y="233901"/>
                  <a:pt x="255588" y="233901"/>
                </a:cubicBezTo>
                <a:cubicBezTo>
                  <a:pt x="260980" y="233901"/>
                  <a:pt x="265652" y="229229"/>
                  <a:pt x="265652" y="223837"/>
                </a:cubicBezTo>
                <a:cubicBezTo>
                  <a:pt x="265652" y="218086"/>
                  <a:pt x="260980" y="213414"/>
                  <a:pt x="255588" y="213414"/>
                </a:cubicBezTo>
                <a:close/>
                <a:moveTo>
                  <a:pt x="32978" y="213414"/>
                </a:moveTo>
                <a:cubicBezTo>
                  <a:pt x="27587" y="213414"/>
                  <a:pt x="22914" y="218086"/>
                  <a:pt x="22914" y="223837"/>
                </a:cubicBezTo>
                <a:cubicBezTo>
                  <a:pt x="22914" y="229229"/>
                  <a:pt x="27587" y="233901"/>
                  <a:pt x="32978" y="233901"/>
                </a:cubicBezTo>
                <a:cubicBezTo>
                  <a:pt x="38729" y="233901"/>
                  <a:pt x="43402" y="229229"/>
                  <a:pt x="43402" y="223837"/>
                </a:cubicBezTo>
                <a:cubicBezTo>
                  <a:pt x="43402" y="218086"/>
                  <a:pt x="38729" y="213414"/>
                  <a:pt x="32978" y="213414"/>
                </a:cubicBezTo>
                <a:close/>
                <a:moveTo>
                  <a:pt x="255588" y="204787"/>
                </a:moveTo>
                <a:cubicBezTo>
                  <a:pt x="266012" y="204787"/>
                  <a:pt x="274279" y="213414"/>
                  <a:pt x="274279" y="223837"/>
                </a:cubicBezTo>
                <a:cubicBezTo>
                  <a:pt x="274279" y="234261"/>
                  <a:pt x="266012" y="242528"/>
                  <a:pt x="255588" y="242528"/>
                </a:cubicBezTo>
                <a:cubicBezTo>
                  <a:pt x="245165" y="242528"/>
                  <a:pt x="236538" y="234261"/>
                  <a:pt x="236538" y="223837"/>
                </a:cubicBezTo>
                <a:cubicBezTo>
                  <a:pt x="236538" y="213414"/>
                  <a:pt x="245165" y="204787"/>
                  <a:pt x="255588" y="204787"/>
                </a:cubicBezTo>
                <a:close/>
                <a:moveTo>
                  <a:pt x="32978" y="204787"/>
                </a:moveTo>
                <a:cubicBezTo>
                  <a:pt x="43402" y="204787"/>
                  <a:pt x="52028" y="213414"/>
                  <a:pt x="52028" y="223837"/>
                </a:cubicBezTo>
                <a:cubicBezTo>
                  <a:pt x="52028" y="234261"/>
                  <a:pt x="43402" y="242528"/>
                  <a:pt x="32978" y="242528"/>
                </a:cubicBezTo>
                <a:cubicBezTo>
                  <a:pt x="22555" y="242528"/>
                  <a:pt x="14288" y="234261"/>
                  <a:pt x="14288" y="223837"/>
                </a:cubicBezTo>
                <a:cubicBezTo>
                  <a:pt x="14288" y="213414"/>
                  <a:pt x="22555" y="204787"/>
                  <a:pt x="32978" y="204787"/>
                </a:cubicBezTo>
                <a:close/>
                <a:moveTo>
                  <a:pt x="131918" y="190305"/>
                </a:moveTo>
                <a:lnTo>
                  <a:pt x="131918" y="228513"/>
                </a:lnTo>
                <a:lnTo>
                  <a:pt x="158235" y="228513"/>
                </a:lnTo>
                <a:lnTo>
                  <a:pt x="158235" y="190305"/>
                </a:lnTo>
                <a:lnTo>
                  <a:pt x="131918" y="190305"/>
                </a:lnTo>
                <a:close/>
                <a:moveTo>
                  <a:pt x="175538" y="163991"/>
                </a:moveTo>
                <a:cubicBezTo>
                  <a:pt x="171212" y="163991"/>
                  <a:pt x="166886" y="168317"/>
                  <a:pt x="166886" y="172642"/>
                </a:cubicBezTo>
                <a:lnTo>
                  <a:pt x="166886" y="181654"/>
                </a:lnTo>
                <a:lnTo>
                  <a:pt x="175538" y="181654"/>
                </a:lnTo>
                <a:cubicBezTo>
                  <a:pt x="180585" y="181654"/>
                  <a:pt x="184551" y="177689"/>
                  <a:pt x="184551" y="172642"/>
                </a:cubicBezTo>
                <a:cubicBezTo>
                  <a:pt x="184551" y="168317"/>
                  <a:pt x="180585" y="163991"/>
                  <a:pt x="175538" y="163991"/>
                </a:cubicBezTo>
                <a:close/>
                <a:moveTo>
                  <a:pt x="114254" y="163991"/>
                </a:moveTo>
                <a:cubicBezTo>
                  <a:pt x="109568" y="163991"/>
                  <a:pt x="105602" y="168317"/>
                  <a:pt x="105602" y="172642"/>
                </a:cubicBezTo>
                <a:cubicBezTo>
                  <a:pt x="105602" y="177689"/>
                  <a:pt x="109568" y="181654"/>
                  <a:pt x="114254" y="181654"/>
                </a:cubicBezTo>
                <a:lnTo>
                  <a:pt x="123267" y="181654"/>
                </a:lnTo>
                <a:lnTo>
                  <a:pt x="123267" y="172642"/>
                </a:lnTo>
                <a:cubicBezTo>
                  <a:pt x="123267" y="168317"/>
                  <a:pt x="119301" y="163991"/>
                  <a:pt x="114254" y="163991"/>
                </a:cubicBezTo>
                <a:close/>
                <a:moveTo>
                  <a:pt x="17991" y="100012"/>
                </a:moveTo>
                <a:lnTo>
                  <a:pt x="25047" y="125249"/>
                </a:lnTo>
                <a:lnTo>
                  <a:pt x="16580" y="123086"/>
                </a:lnTo>
                <a:cubicBezTo>
                  <a:pt x="12700" y="146160"/>
                  <a:pt x="14816" y="169955"/>
                  <a:pt x="22930" y="191948"/>
                </a:cubicBezTo>
                <a:cubicBezTo>
                  <a:pt x="23636" y="194471"/>
                  <a:pt x="22578" y="196995"/>
                  <a:pt x="20461" y="197716"/>
                </a:cubicBezTo>
                <a:cubicBezTo>
                  <a:pt x="19755" y="198077"/>
                  <a:pt x="19403" y="198077"/>
                  <a:pt x="18697" y="198077"/>
                </a:cubicBezTo>
                <a:cubicBezTo>
                  <a:pt x="17286" y="198077"/>
                  <a:pt x="15522" y="196995"/>
                  <a:pt x="14816" y="195192"/>
                </a:cubicBezTo>
                <a:cubicBezTo>
                  <a:pt x="5997" y="171397"/>
                  <a:pt x="3880" y="145800"/>
                  <a:pt x="8114" y="120923"/>
                </a:cubicBezTo>
                <a:lnTo>
                  <a:pt x="0" y="118399"/>
                </a:lnTo>
                <a:lnTo>
                  <a:pt x="17991" y="100012"/>
                </a:lnTo>
                <a:close/>
                <a:moveTo>
                  <a:pt x="270322" y="95609"/>
                </a:moveTo>
                <a:cubicBezTo>
                  <a:pt x="272469" y="95250"/>
                  <a:pt x="274615" y="95967"/>
                  <a:pt x="275689" y="98476"/>
                </a:cubicBezTo>
                <a:cubicBezTo>
                  <a:pt x="284275" y="123211"/>
                  <a:pt x="285706" y="149020"/>
                  <a:pt x="280339" y="174830"/>
                </a:cubicBezTo>
                <a:lnTo>
                  <a:pt x="288568" y="176980"/>
                </a:lnTo>
                <a:lnTo>
                  <a:pt x="269249" y="194904"/>
                </a:lnTo>
                <a:lnTo>
                  <a:pt x="263525" y="169453"/>
                </a:lnTo>
                <a:lnTo>
                  <a:pt x="271753" y="171962"/>
                </a:lnTo>
                <a:cubicBezTo>
                  <a:pt x="276762" y="148662"/>
                  <a:pt x="275331" y="124286"/>
                  <a:pt x="267460" y="101344"/>
                </a:cubicBezTo>
                <a:cubicBezTo>
                  <a:pt x="266745" y="99193"/>
                  <a:pt x="267818" y="96326"/>
                  <a:pt x="270322" y="95609"/>
                </a:cubicBezTo>
                <a:close/>
                <a:moveTo>
                  <a:pt x="144030" y="85725"/>
                </a:moveTo>
                <a:cubicBezTo>
                  <a:pt x="173615" y="85725"/>
                  <a:pt x="197788" y="107012"/>
                  <a:pt x="202479" y="135875"/>
                </a:cubicBezTo>
                <a:cubicBezTo>
                  <a:pt x="202839" y="138401"/>
                  <a:pt x="201396" y="140205"/>
                  <a:pt x="198871" y="140926"/>
                </a:cubicBezTo>
                <a:cubicBezTo>
                  <a:pt x="198510" y="140926"/>
                  <a:pt x="198149" y="140926"/>
                  <a:pt x="198149" y="140926"/>
                </a:cubicBezTo>
                <a:cubicBezTo>
                  <a:pt x="195984" y="140926"/>
                  <a:pt x="194180" y="139483"/>
                  <a:pt x="193820" y="137319"/>
                </a:cubicBezTo>
                <a:cubicBezTo>
                  <a:pt x="190212" y="112785"/>
                  <a:pt x="168925" y="94745"/>
                  <a:pt x="144030" y="94745"/>
                </a:cubicBezTo>
                <a:cubicBezTo>
                  <a:pt x="141865" y="94745"/>
                  <a:pt x="139700" y="92580"/>
                  <a:pt x="139700" y="90416"/>
                </a:cubicBezTo>
                <a:cubicBezTo>
                  <a:pt x="139700" y="87890"/>
                  <a:pt x="141865" y="85725"/>
                  <a:pt x="144030" y="85725"/>
                </a:cubicBezTo>
                <a:close/>
                <a:moveTo>
                  <a:pt x="144896" y="67388"/>
                </a:moveTo>
                <a:cubicBezTo>
                  <a:pt x="102358" y="67388"/>
                  <a:pt x="67390" y="102353"/>
                  <a:pt x="67390" y="144887"/>
                </a:cubicBezTo>
                <a:cubicBezTo>
                  <a:pt x="67390" y="165433"/>
                  <a:pt x="75681" y="184898"/>
                  <a:pt x="89741" y="199677"/>
                </a:cubicBezTo>
                <a:cubicBezTo>
                  <a:pt x="97672" y="207607"/>
                  <a:pt x="102718" y="217700"/>
                  <a:pt x="103800" y="228513"/>
                </a:cubicBezTo>
                <a:lnTo>
                  <a:pt x="123267" y="228513"/>
                </a:lnTo>
                <a:lnTo>
                  <a:pt x="123267" y="190305"/>
                </a:lnTo>
                <a:lnTo>
                  <a:pt x="114254" y="190305"/>
                </a:lnTo>
                <a:cubicBezTo>
                  <a:pt x="104881" y="190305"/>
                  <a:pt x="96590" y="182375"/>
                  <a:pt x="96590" y="172642"/>
                </a:cubicBezTo>
                <a:cubicBezTo>
                  <a:pt x="96590" y="163270"/>
                  <a:pt x="104881" y="155340"/>
                  <a:pt x="114254" y="155340"/>
                </a:cubicBezTo>
                <a:cubicBezTo>
                  <a:pt x="123988" y="155340"/>
                  <a:pt x="131918" y="163270"/>
                  <a:pt x="131918" y="172642"/>
                </a:cubicBezTo>
                <a:lnTo>
                  <a:pt x="131918" y="181654"/>
                </a:lnTo>
                <a:lnTo>
                  <a:pt x="158235" y="181654"/>
                </a:lnTo>
                <a:lnTo>
                  <a:pt x="158235" y="172642"/>
                </a:lnTo>
                <a:cubicBezTo>
                  <a:pt x="158235" y="163270"/>
                  <a:pt x="166165" y="155340"/>
                  <a:pt x="175538" y="155340"/>
                </a:cubicBezTo>
                <a:cubicBezTo>
                  <a:pt x="185272" y="155340"/>
                  <a:pt x="193202" y="163270"/>
                  <a:pt x="193202" y="172642"/>
                </a:cubicBezTo>
                <a:cubicBezTo>
                  <a:pt x="193202" y="182375"/>
                  <a:pt x="185272" y="190305"/>
                  <a:pt x="175538" y="190305"/>
                </a:cubicBezTo>
                <a:lnTo>
                  <a:pt x="166886" y="190305"/>
                </a:lnTo>
                <a:lnTo>
                  <a:pt x="166886" y="228513"/>
                </a:lnTo>
                <a:lnTo>
                  <a:pt x="187074" y="228513"/>
                </a:lnTo>
                <a:cubicBezTo>
                  <a:pt x="187795" y="217339"/>
                  <a:pt x="192842" y="207246"/>
                  <a:pt x="200412" y="199316"/>
                </a:cubicBezTo>
                <a:cubicBezTo>
                  <a:pt x="214832" y="184537"/>
                  <a:pt x="222402" y="165433"/>
                  <a:pt x="222402" y="144887"/>
                </a:cubicBezTo>
                <a:cubicBezTo>
                  <a:pt x="222402" y="102353"/>
                  <a:pt x="187795" y="67388"/>
                  <a:pt x="144896" y="67388"/>
                </a:cubicBezTo>
                <a:close/>
                <a:moveTo>
                  <a:pt x="144896" y="58737"/>
                </a:moveTo>
                <a:cubicBezTo>
                  <a:pt x="192481" y="58737"/>
                  <a:pt x="231415" y="97306"/>
                  <a:pt x="231415" y="144887"/>
                </a:cubicBezTo>
                <a:cubicBezTo>
                  <a:pt x="231415" y="167596"/>
                  <a:pt x="222763" y="189223"/>
                  <a:pt x="206901" y="205444"/>
                </a:cubicBezTo>
                <a:cubicBezTo>
                  <a:pt x="199331" y="213014"/>
                  <a:pt x="195365" y="223106"/>
                  <a:pt x="195365" y="233920"/>
                </a:cubicBezTo>
                <a:lnTo>
                  <a:pt x="195365" y="254827"/>
                </a:lnTo>
                <a:cubicBezTo>
                  <a:pt x="195365" y="259513"/>
                  <a:pt x="191400" y="263478"/>
                  <a:pt x="186353" y="263478"/>
                </a:cubicBezTo>
                <a:lnTo>
                  <a:pt x="182027" y="263478"/>
                </a:lnTo>
                <a:lnTo>
                  <a:pt x="182027" y="268164"/>
                </a:lnTo>
                <a:cubicBezTo>
                  <a:pt x="182027" y="280059"/>
                  <a:pt x="171933" y="290152"/>
                  <a:pt x="160037" y="290152"/>
                </a:cubicBezTo>
                <a:lnTo>
                  <a:pt x="130837" y="290152"/>
                </a:lnTo>
                <a:cubicBezTo>
                  <a:pt x="118580" y="290152"/>
                  <a:pt x="108847" y="280059"/>
                  <a:pt x="108847" y="268164"/>
                </a:cubicBezTo>
                <a:lnTo>
                  <a:pt x="108847" y="263478"/>
                </a:lnTo>
                <a:lnTo>
                  <a:pt x="104521" y="263478"/>
                </a:lnTo>
                <a:cubicBezTo>
                  <a:pt x="99474" y="263478"/>
                  <a:pt x="95509" y="259513"/>
                  <a:pt x="95509" y="254827"/>
                </a:cubicBezTo>
                <a:lnTo>
                  <a:pt x="95509" y="234641"/>
                </a:lnTo>
                <a:cubicBezTo>
                  <a:pt x="95509" y="223467"/>
                  <a:pt x="91543" y="213374"/>
                  <a:pt x="83973" y="205804"/>
                </a:cubicBezTo>
                <a:cubicBezTo>
                  <a:pt x="67751" y="189584"/>
                  <a:pt x="58738" y="167956"/>
                  <a:pt x="58738" y="144887"/>
                </a:cubicBezTo>
                <a:cubicBezTo>
                  <a:pt x="58738" y="97306"/>
                  <a:pt x="97672" y="58737"/>
                  <a:pt x="144896" y="58737"/>
                </a:cubicBezTo>
                <a:close/>
                <a:moveTo>
                  <a:pt x="234596" y="36726"/>
                </a:moveTo>
                <a:cubicBezTo>
                  <a:pt x="236774" y="38167"/>
                  <a:pt x="236774" y="40689"/>
                  <a:pt x="235322" y="42491"/>
                </a:cubicBezTo>
                <a:cubicBezTo>
                  <a:pt x="232417" y="45733"/>
                  <a:pt x="231328" y="49696"/>
                  <a:pt x="231328" y="53660"/>
                </a:cubicBezTo>
                <a:lnTo>
                  <a:pt x="231328" y="76718"/>
                </a:lnTo>
                <a:lnTo>
                  <a:pt x="281436" y="76718"/>
                </a:lnTo>
                <a:lnTo>
                  <a:pt x="281436" y="53660"/>
                </a:lnTo>
                <a:cubicBezTo>
                  <a:pt x="281436" y="49696"/>
                  <a:pt x="279983" y="45733"/>
                  <a:pt x="277442" y="42491"/>
                </a:cubicBezTo>
                <a:cubicBezTo>
                  <a:pt x="275626" y="40689"/>
                  <a:pt x="275989" y="38167"/>
                  <a:pt x="278168" y="36726"/>
                </a:cubicBezTo>
                <a:cubicBezTo>
                  <a:pt x="279983" y="34925"/>
                  <a:pt x="282525" y="35285"/>
                  <a:pt x="284341" y="37086"/>
                </a:cubicBezTo>
                <a:cubicBezTo>
                  <a:pt x="287972" y="41770"/>
                  <a:pt x="290150" y="47895"/>
                  <a:pt x="290150" y="53660"/>
                </a:cubicBezTo>
                <a:lnTo>
                  <a:pt x="290150" y="81042"/>
                </a:lnTo>
                <a:cubicBezTo>
                  <a:pt x="290150" y="83203"/>
                  <a:pt x="288335" y="85365"/>
                  <a:pt x="285793" y="85365"/>
                </a:cubicBezTo>
                <a:lnTo>
                  <a:pt x="226971" y="85365"/>
                </a:lnTo>
                <a:cubicBezTo>
                  <a:pt x="224429" y="85365"/>
                  <a:pt x="222250" y="83203"/>
                  <a:pt x="222250" y="81042"/>
                </a:cubicBezTo>
                <a:lnTo>
                  <a:pt x="222250" y="53660"/>
                </a:lnTo>
                <a:cubicBezTo>
                  <a:pt x="222250" y="47895"/>
                  <a:pt x="224429" y="41770"/>
                  <a:pt x="228423" y="37086"/>
                </a:cubicBezTo>
                <a:cubicBezTo>
                  <a:pt x="229875" y="35285"/>
                  <a:pt x="232780" y="34925"/>
                  <a:pt x="234596" y="36726"/>
                </a:cubicBezTo>
                <a:close/>
                <a:moveTo>
                  <a:pt x="11766" y="36726"/>
                </a:moveTo>
                <a:cubicBezTo>
                  <a:pt x="13905" y="38167"/>
                  <a:pt x="14262" y="40689"/>
                  <a:pt x="12479" y="42491"/>
                </a:cubicBezTo>
                <a:cubicBezTo>
                  <a:pt x="9983" y="45733"/>
                  <a:pt x="8557" y="49696"/>
                  <a:pt x="8557" y="53660"/>
                </a:cubicBezTo>
                <a:lnTo>
                  <a:pt x="8557" y="76718"/>
                </a:lnTo>
                <a:lnTo>
                  <a:pt x="57761" y="76718"/>
                </a:lnTo>
                <a:lnTo>
                  <a:pt x="57761" y="53660"/>
                </a:lnTo>
                <a:cubicBezTo>
                  <a:pt x="57761" y="49696"/>
                  <a:pt x="56335" y="45733"/>
                  <a:pt x="53839" y="42491"/>
                </a:cubicBezTo>
                <a:cubicBezTo>
                  <a:pt x="52413" y="40689"/>
                  <a:pt x="52413" y="38167"/>
                  <a:pt x="54552" y="36726"/>
                </a:cubicBezTo>
                <a:cubicBezTo>
                  <a:pt x="56335" y="34925"/>
                  <a:pt x="59188" y="35285"/>
                  <a:pt x="60614" y="37086"/>
                </a:cubicBezTo>
                <a:cubicBezTo>
                  <a:pt x="64179" y="41770"/>
                  <a:pt x="66319" y="47895"/>
                  <a:pt x="66319" y="53660"/>
                </a:cubicBezTo>
                <a:lnTo>
                  <a:pt x="66319" y="81042"/>
                </a:lnTo>
                <a:cubicBezTo>
                  <a:pt x="66319" y="83203"/>
                  <a:pt x="64536" y="85365"/>
                  <a:pt x="62040" y="85365"/>
                </a:cubicBezTo>
                <a:lnTo>
                  <a:pt x="4278" y="85365"/>
                </a:lnTo>
                <a:cubicBezTo>
                  <a:pt x="1783" y="85365"/>
                  <a:pt x="0" y="83203"/>
                  <a:pt x="0" y="81042"/>
                </a:cubicBezTo>
                <a:lnTo>
                  <a:pt x="0" y="53660"/>
                </a:lnTo>
                <a:cubicBezTo>
                  <a:pt x="0" y="47895"/>
                  <a:pt x="2139" y="41770"/>
                  <a:pt x="6061" y="37086"/>
                </a:cubicBezTo>
                <a:cubicBezTo>
                  <a:pt x="7487" y="35285"/>
                  <a:pt x="9983" y="34925"/>
                  <a:pt x="11766" y="36726"/>
                </a:cubicBezTo>
                <a:close/>
                <a:moveTo>
                  <a:pt x="255588" y="8902"/>
                </a:moveTo>
                <a:cubicBezTo>
                  <a:pt x="249837" y="8902"/>
                  <a:pt x="245165" y="13531"/>
                  <a:pt x="245165" y="18872"/>
                </a:cubicBezTo>
                <a:cubicBezTo>
                  <a:pt x="245165" y="24569"/>
                  <a:pt x="249837" y="29198"/>
                  <a:pt x="255588" y="29198"/>
                </a:cubicBezTo>
                <a:cubicBezTo>
                  <a:pt x="260980" y="29198"/>
                  <a:pt x="265652" y="24569"/>
                  <a:pt x="265652" y="18872"/>
                </a:cubicBezTo>
                <a:cubicBezTo>
                  <a:pt x="265652" y="13531"/>
                  <a:pt x="260980" y="8902"/>
                  <a:pt x="255588" y="8902"/>
                </a:cubicBezTo>
                <a:close/>
                <a:moveTo>
                  <a:pt x="32978" y="8902"/>
                </a:moveTo>
                <a:cubicBezTo>
                  <a:pt x="27587" y="8902"/>
                  <a:pt x="22914" y="13531"/>
                  <a:pt x="22914" y="18872"/>
                </a:cubicBezTo>
                <a:cubicBezTo>
                  <a:pt x="22914" y="24569"/>
                  <a:pt x="27587" y="29198"/>
                  <a:pt x="32978" y="29198"/>
                </a:cubicBezTo>
                <a:cubicBezTo>
                  <a:pt x="38729" y="29198"/>
                  <a:pt x="43402" y="24569"/>
                  <a:pt x="43402" y="18872"/>
                </a:cubicBezTo>
                <a:cubicBezTo>
                  <a:pt x="43402" y="13531"/>
                  <a:pt x="38729" y="8902"/>
                  <a:pt x="32978" y="8902"/>
                </a:cubicBezTo>
                <a:close/>
                <a:moveTo>
                  <a:pt x="133521" y="6815"/>
                </a:moveTo>
                <a:cubicBezTo>
                  <a:pt x="154896" y="5078"/>
                  <a:pt x="176676" y="8197"/>
                  <a:pt x="197102" y="16393"/>
                </a:cubicBezTo>
                <a:lnTo>
                  <a:pt x="201078" y="8553"/>
                </a:lnTo>
                <a:lnTo>
                  <a:pt x="215539" y="30292"/>
                </a:lnTo>
                <a:lnTo>
                  <a:pt x="189149" y="31717"/>
                </a:lnTo>
                <a:lnTo>
                  <a:pt x="193487" y="23877"/>
                </a:lnTo>
                <a:cubicBezTo>
                  <a:pt x="155167" y="9266"/>
                  <a:pt x="112147" y="12829"/>
                  <a:pt x="77080" y="33856"/>
                </a:cubicBezTo>
                <a:cubicBezTo>
                  <a:pt x="76357" y="34212"/>
                  <a:pt x="75634" y="34568"/>
                  <a:pt x="74911" y="34568"/>
                </a:cubicBezTo>
                <a:cubicBezTo>
                  <a:pt x="73465" y="34568"/>
                  <a:pt x="72019" y="33856"/>
                  <a:pt x="70935" y="32430"/>
                </a:cubicBezTo>
                <a:cubicBezTo>
                  <a:pt x="69850" y="30292"/>
                  <a:pt x="70212" y="27441"/>
                  <a:pt x="72381" y="26372"/>
                </a:cubicBezTo>
                <a:cubicBezTo>
                  <a:pt x="91179" y="15146"/>
                  <a:pt x="112147" y="8553"/>
                  <a:pt x="133521" y="6815"/>
                </a:cubicBezTo>
                <a:close/>
                <a:moveTo>
                  <a:pt x="255588" y="0"/>
                </a:moveTo>
                <a:cubicBezTo>
                  <a:pt x="266012" y="0"/>
                  <a:pt x="274279" y="8546"/>
                  <a:pt x="274279" y="18872"/>
                </a:cubicBezTo>
                <a:cubicBezTo>
                  <a:pt x="274279" y="29198"/>
                  <a:pt x="266012" y="37744"/>
                  <a:pt x="255588" y="37744"/>
                </a:cubicBezTo>
                <a:cubicBezTo>
                  <a:pt x="245165" y="37744"/>
                  <a:pt x="236538" y="29198"/>
                  <a:pt x="236538" y="18872"/>
                </a:cubicBezTo>
                <a:cubicBezTo>
                  <a:pt x="236538" y="8546"/>
                  <a:pt x="245165" y="0"/>
                  <a:pt x="255588" y="0"/>
                </a:cubicBezTo>
                <a:close/>
                <a:moveTo>
                  <a:pt x="32978" y="0"/>
                </a:moveTo>
                <a:cubicBezTo>
                  <a:pt x="43402" y="0"/>
                  <a:pt x="52028" y="8546"/>
                  <a:pt x="52028" y="18872"/>
                </a:cubicBezTo>
                <a:cubicBezTo>
                  <a:pt x="52028" y="29198"/>
                  <a:pt x="43402" y="37744"/>
                  <a:pt x="32978" y="37744"/>
                </a:cubicBezTo>
                <a:cubicBezTo>
                  <a:pt x="22555" y="37744"/>
                  <a:pt x="14288" y="29198"/>
                  <a:pt x="14288" y="18872"/>
                </a:cubicBezTo>
                <a:cubicBezTo>
                  <a:pt x="14288" y="8546"/>
                  <a:pt x="22555" y="0"/>
                  <a:pt x="3297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33" name="Freeform 1031">
            <a:extLst>
              <a:ext uri="{FF2B5EF4-FFF2-40B4-BE49-F238E27FC236}">
                <a16:creationId xmlns:a16="http://schemas.microsoft.com/office/drawing/2014/main" id="{3B3DF43B-B699-FA42-B171-FBC838C61F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20563" y="838977"/>
            <a:ext cx="531813" cy="532607"/>
          </a:xfrm>
          <a:custGeom>
            <a:avLst/>
            <a:gdLst>
              <a:gd name="T0" fmla="*/ 68774937 w 293328"/>
              <a:gd name="T1" fmla="*/ 119643747 h 293328"/>
              <a:gd name="T2" fmla="*/ 77985361 w 293328"/>
              <a:gd name="T3" fmla="*/ 119643747 h 293328"/>
              <a:gd name="T4" fmla="*/ 79828350 w 293328"/>
              <a:gd name="T5" fmla="*/ 88042880 h 293328"/>
              <a:gd name="T6" fmla="*/ 81670393 w 293328"/>
              <a:gd name="T7" fmla="*/ 119643747 h 293328"/>
              <a:gd name="T8" fmla="*/ 90880933 w 293328"/>
              <a:gd name="T9" fmla="*/ 119643747 h 293328"/>
              <a:gd name="T10" fmla="*/ 68774937 w 293328"/>
              <a:gd name="T11" fmla="*/ 83169438 h 293328"/>
              <a:gd name="T12" fmla="*/ 81769808 w 293328"/>
              <a:gd name="T13" fmla="*/ 72036662 h 293328"/>
              <a:gd name="T14" fmla="*/ 77869883 w 293328"/>
              <a:gd name="T15" fmla="*/ 72036662 h 293328"/>
              <a:gd name="T16" fmla="*/ 79820244 w 293328"/>
              <a:gd name="T17" fmla="*/ 61024530 h 293328"/>
              <a:gd name="T18" fmla="*/ 79820244 w 293328"/>
              <a:gd name="T19" fmla="*/ 65025693 h 293328"/>
              <a:gd name="T20" fmla="*/ 79820244 w 293328"/>
              <a:gd name="T21" fmla="*/ 61024530 h 293328"/>
              <a:gd name="T22" fmla="*/ 81769808 w 293328"/>
              <a:gd name="T23" fmla="*/ 53313538 h 293328"/>
              <a:gd name="T24" fmla="*/ 77869883 w 293328"/>
              <a:gd name="T25" fmla="*/ 53313538 h 293328"/>
              <a:gd name="T26" fmla="*/ 41142411 w 293328"/>
              <a:gd name="T27" fmla="*/ 25155529 h 293328"/>
              <a:gd name="T28" fmla="*/ 65551253 w 293328"/>
              <a:gd name="T29" fmla="*/ 55026678 h 293328"/>
              <a:gd name="T30" fmla="*/ 68774937 w 293328"/>
              <a:gd name="T31" fmla="*/ 79238482 h 293328"/>
              <a:gd name="T32" fmla="*/ 90880933 w 293328"/>
              <a:gd name="T33" fmla="*/ 56284742 h 293328"/>
              <a:gd name="T34" fmla="*/ 94719662 w 293328"/>
              <a:gd name="T35" fmla="*/ 56284742 h 293328"/>
              <a:gd name="T36" fmla="*/ 97943104 w 293328"/>
              <a:gd name="T37" fmla="*/ 84898726 h 293328"/>
              <a:gd name="T38" fmla="*/ 101166843 w 293328"/>
              <a:gd name="T39" fmla="*/ 54555247 h 293328"/>
              <a:gd name="T40" fmla="*/ 71077972 w 293328"/>
              <a:gd name="T41" fmla="*/ 46065160 h 293328"/>
              <a:gd name="T42" fmla="*/ 45594413 w 293328"/>
              <a:gd name="T43" fmla="*/ 25155529 h 293328"/>
              <a:gd name="T44" fmla="*/ 79900704 w 293328"/>
              <a:gd name="T45" fmla="*/ 19856664 h 293328"/>
              <a:gd name="T46" fmla="*/ 79900704 w 293328"/>
              <a:gd name="T47" fmla="*/ 34077248 h 293328"/>
              <a:gd name="T48" fmla="*/ 79900704 w 293328"/>
              <a:gd name="T49" fmla="*/ 19856664 h 293328"/>
              <a:gd name="T50" fmla="*/ 90582629 w 293328"/>
              <a:gd name="T51" fmla="*/ 26889373 h 293328"/>
              <a:gd name="T52" fmla="*/ 69066944 w 293328"/>
              <a:gd name="T53" fmla="*/ 26889373 h 293328"/>
              <a:gd name="T54" fmla="*/ 1841582 w 293328"/>
              <a:gd name="T55" fmla="*/ 0 h 293328"/>
              <a:gd name="T56" fmla="*/ 125114871 w 293328"/>
              <a:gd name="T57" fmla="*/ 2044476 h 293328"/>
              <a:gd name="T58" fmla="*/ 117592766 w 293328"/>
              <a:gd name="T59" fmla="*/ 3930422 h 293328"/>
              <a:gd name="T60" fmla="*/ 115597421 w 293328"/>
              <a:gd name="T61" fmla="*/ 73735681 h 293328"/>
              <a:gd name="T62" fmla="*/ 105004974 w 293328"/>
              <a:gd name="T63" fmla="*/ 81754117 h 293328"/>
              <a:gd name="T64" fmla="*/ 94719662 w 293328"/>
              <a:gd name="T65" fmla="*/ 88042880 h 293328"/>
              <a:gd name="T66" fmla="*/ 86275502 w 293328"/>
              <a:gd name="T67" fmla="*/ 128133161 h 293328"/>
              <a:gd name="T68" fmla="*/ 73380249 w 293328"/>
              <a:gd name="T69" fmla="*/ 128133161 h 293328"/>
              <a:gd name="T70" fmla="*/ 64937487 w 293328"/>
              <a:gd name="T71" fmla="*/ 62730148 h 293328"/>
              <a:gd name="T72" fmla="*/ 38379011 w 293328"/>
              <a:gd name="T73" fmla="*/ 32544374 h 293328"/>
              <a:gd name="T74" fmla="*/ 48357047 w 293328"/>
              <a:gd name="T75" fmla="*/ 22325141 h 293328"/>
              <a:gd name="T76" fmla="*/ 71077972 w 293328"/>
              <a:gd name="T77" fmla="*/ 42134862 h 293328"/>
              <a:gd name="T78" fmla="*/ 105004974 w 293328"/>
              <a:gd name="T79" fmla="*/ 54555247 h 293328"/>
              <a:gd name="T80" fmla="*/ 113755352 w 293328"/>
              <a:gd name="T81" fmla="*/ 69962757 h 293328"/>
              <a:gd name="T82" fmla="*/ 11360453 w 293328"/>
              <a:gd name="T83" fmla="*/ 3930422 h 293328"/>
              <a:gd name="T84" fmla="*/ 59103376 w 293328"/>
              <a:gd name="T85" fmla="*/ 69962757 h 293328"/>
              <a:gd name="T86" fmla="*/ 59103376 w 293328"/>
              <a:gd name="T87" fmla="*/ 73735681 h 293328"/>
              <a:gd name="T88" fmla="*/ 7522971 w 293328"/>
              <a:gd name="T89" fmla="*/ 71849273 h 293328"/>
              <a:gd name="T90" fmla="*/ 1841582 w 293328"/>
              <a:gd name="T91" fmla="*/ 3930422 h 293328"/>
              <a:gd name="T92" fmla="*/ 1841582 w 293328"/>
              <a:gd name="T93" fmla="*/ 0 h 29332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93328" h="293328">
                <a:moveTo>
                  <a:pt x="161240" y="190394"/>
                </a:moveTo>
                <a:lnTo>
                  <a:pt x="161240" y="273893"/>
                </a:lnTo>
                <a:cubicBezTo>
                  <a:pt x="161240" y="279652"/>
                  <a:pt x="165919" y="284690"/>
                  <a:pt x="172038" y="284690"/>
                </a:cubicBezTo>
                <a:cubicBezTo>
                  <a:pt x="177796" y="284690"/>
                  <a:pt x="182835" y="279652"/>
                  <a:pt x="182835" y="273893"/>
                </a:cubicBezTo>
                <a:lnTo>
                  <a:pt x="182835" y="205870"/>
                </a:lnTo>
                <a:cubicBezTo>
                  <a:pt x="182835" y="203350"/>
                  <a:pt x="184635" y="201551"/>
                  <a:pt x="187154" y="201551"/>
                </a:cubicBezTo>
                <a:cubicBezTo>
                  <a:pt x="189674" y="201551"/>
                  <a:pt x="191473" y="203350"/>
                  <a:pt x="191473" y="205870"/>
                </a:cubicBezTo>
                <a:lnTo>
                  <a:pt x="191473" y="273893"/>
                </a:lnTo>
                <a:cubicBezTo>
                  <a:pt x="191473" y="279652"/>
                  <a:pt x="196512" y="284690"/>
                  <a:pt x="202270" y="284690"/>
                </a:cubicBezTo>
                <a:cubicBezTo>
                  <a:pt x="208389" y="284690"/>
                  <a:pt x="213068" y="279652"/>
                  <a:pt x="213068" y="273893"/>
                </a:cubicBezTo>
                <a:lnTo>
                  <a:pt x="213068" y="190394"/>
                </a:lnTo>
                <a:lnTo>
                  <a:pt x="161240" y="190394"/>
                </a:lnTo>
                <a:close/>
                <a:moveTo>
                  <a:pt x="187135" y="160338"/>
                </a:moveTo>
                <a:cubicBezTo>
                  <a:pt x="189802" y="160338"/>
                  <a:pt x="191707" y="162624"/>
                  <a:pt x="191707" y="164910"/>
                </a:cubicBezTo>
                <a:cubicBezTo>
                  <a:pt x="191707" y="167577"/>
                  <a:pt x="189802" y="169482"/>
                  <a:pt x="187135" y="169482"/>
                </a:cubicBezTo>
                <a:cubicBezTo>
                  <a:pt x="184468" y="169482"/>
                  <a:pt x="182563" y="167577"/>
                  <a:pt x="182563" y="164910"/>
                </a:cubicBezTo>
                <a:cubicBezTo>
                  <a:pt x="182563" y="162243"/>
                  <a:pt x="184468" y="160338"/>
                  <a:pt x="187135" y="160338"/>
                </a:cubicBezTo>
                <a:close/>
                <a:moveTo>
                  <a:pt x="187135" y="139700"/>
                </a:moveTo>
                <a:cubicBezTo>
                  <a:pt x="189802" y="139700"/>
                  <a:pt x="191707" y="141532"/>
                  <a:pt x="191707" y="144096"/>
                </a:cubicBezTo>
                <a:cubicBezTo>
                  <a:pt x="191707" y="146661"/>
                  <a:pt x="189802" y="148859"/>
                  <a:pt x="187135" y="148859"/>
                </a:cubicBezTo>
                <a:cubicBezTo>
                  <a:pt x="184468" y="148859"/>
                  <a:pt x="182563" y="146661"/>
                  <a:pt x="182563" y="144096"/>
                </a:cubicBezTo>
                <a:cubicBezTo>
                  <a:pt x="182563" y="141532"/>
                  <a:pt x="184468" y="139700"/>
                  <a:pt x="187135" y="139700"/>
                </a:cubicBezTo>
                <a:close/>
                <a:moveTo>
                  <a:pt x="187135" y="117475"/>
                </a:moveTo>
                <a:cubicBezTo>
                  <a:pt x="189802" y="117475"/>
                  <a:pt x="191707" y="119761"/>
                  <a:pt x="191707" y="122047"/>
                </a:cubicBezTo>
                <a:cubicBezTo>
                  <a:pt x="191707" y="124714"/>
                  <a:pt x="189802" y="126619"/>
                  <a:pt x="187135" y="126619"/>
                </a:cubicBezTo>
                <a:cubicBezTo>
                  <a:pt x="184468" y="126619"/>
                  <a:pt x="182563" y="124714"/>
                  <a:pt x="182563" y="122047"/>
                </a:cubicBezTo>
                <a:cubicBezTo>
                  <a:pt x="182563" y="119761"/>
                  <a:pt x="184468" y="117475"/>
                  <a:pt x="187135" y="117475"/>
                </a:cubicBezTo>
                <a:close/>
                <a:moveTo>
                  <a:pt x="96456" y="57586"/>
                </a:moveTo>
                <a:cubicBezTo>
                  <a:pt x="93577" y="60465"/>
                  <a:pt x="93577" y="65144"/>
                  <a:pt x="96456" y="68023"/>
                </a:cubicBezTo>
                <a:lnTo>
                  <a:pt x="153682" y="125969"/>
                </a:lnTo>
                <a:cubicBezTo>
                  <a:pt x="158361" y="130648"/>
                  <a:pt x="161240" y="136767"/>
                  <a:pt x="161240" y="143605"/>
                </a:cubicBezTo>
                <a:lnTo>
                  <a:pt x="161240" y="181396"/>
                </a:lnTo>
                <a:lnTo>
                  <a:pt x="213068" y="181396"/>
                </a:lnTo>
                <a:lnTo>
                  <a:pt x="213068" y="128849"/>
                </a:lnTo>
                <a:cubicBezTo>
                  <a:pt x="213068" y="126329"/>
                  <a:pt x="215227" y="124530"/>
                  <a:pt x="217387" y="124530"/>
                </a:cubicBezTo>
                <a:cubicBezTo>
                  <a:pt x="219906" y="124530"/>
                  <a:pt x="222066" y="126329"/>
                  <a:pt x="222066" y="128849"/>
                </a:cubicBezTo>
                <a:lnTo>
                  <a:pt x="222066" y="187154"/>
                </a:lnTo>
                <a:cubicBezTo>
                  <a:pt x="222066" y="191113"/>
                  <a:pt x="225305" y="194353"/>
                  <a:pt x="229624" y="194353"/>
                </a:cubicBezTo>
                <a:cubicBezTo>
                  <a:pt x="233943" y="194353"/>
                  <a:pt x="237182" y="191113"/>
                  <a:pt x="237182" y="187154"/>
                </a:cubicBezTo>
                <a:lnTo>
                  <a:pt x="237182" y="124890"/>
                </a:lnTo>
                <a:cubicBezTo>
                  <a:pt x="237182" y="114092"/>
                  <a:pt x="228184" y="105454"/>
                  <a:pt x="217387" y="105454"/>
                </a:cubicBezTo>
                <a:lnTo>
                  <a:pt x="166639" y="105454"/>
                </a:lnTo>
                <a:cubicBezTo>
                  <a:pt x="159081" y="105454"/>
                  <a:pt x="151883" y="102575"/>
                  <a:pt x="146124" y="96816"/>
                </a:cubicBezTo>
                <a:lnTo>
                  <a:pt x="106894" y="57586"/>
                </a:lnTo>
                <a:cubicBezTo>
                  <a:pt x="104014" y="54706"/>
                  <a:pt x="98976" y="54706"/>
                  <a:pt x="96456" y="57586"/>
                </a:cubicBezTo>
                <a:close/>
                <a:moveTo>
                  <a:pt x="187325" y="45456"/>
                </a:moveTo>
                <a:cubicBezTo>
                  <a:pt x="178381" y="45456"/>
                  <a:pt x="170869" y="52611"/>
                  <a:pt x="170869" y="61555"/>
                </a:cubicBezTo>
                <a:cubicBezTo>
                  <a:pt x="170869" y="70856"/>
                  <a:pt x="178381" y="78011"/>
                  <a:pt x="187325" y="78011"/>
                </a:cubicBezTo>
                <a:cubicBezTo>
                  <a:pt x="196269" y="78011"/>
                  <a:pt x="203781" y="70856"/>
                  <a:pt x="203781" y="61555"/>
                </a:cubicBezTo>
                <a:cubicBezTo>
                  <a:pt x="203781" y="52611"/>
                  <a:pt x="196269" y="45456"/>
                  <a:pt x="187325" y="45456"/>
                </a:cubicBezTo>
                <a:close/>
                <a:moveTo>
                  <a:pt x="187325" y="36513"/>
                </a:moveTo>
                <a:cubicBezTo>
                  <a:pt x="201277" y="36513"/>
                  <a:pt x="212367" y="47961"/>
                  <a:pt x="212367" y="61555"/>
                </a:cubicBezTo>
                <a:cubicBezTo>
                  <a:pt x="212367" y="75507"/>
                  <a:pt x="201277" y="86955"/>
                  <a:pt x="187325" y="86955"/>
                </a:cubicBezTo>
                <a:cubicBezTo>
                  <a:pt x="173373" y="86955"/>
                  <a:pt x="161925" y="75507"/>
                  <a:pt x="161925" y="61555"/>
                </a:cubicBezTo>
                <a:cubicBezTo>
                  <a:pt x="161925" y="47961"/>
                  <a:pt x="173373" y="36513"/>
                  <a:pt x="187325" y="36513"/>
                </a:cubicBezTo>
                <a:close/>
                <a:moveTo>
                  <a:pt x="4319" y="0"/>
                </a:moveTo>
                <a:lnTo>
                  <a:pt x="289009" y="0"/>
                </a:lnTo>
                <a:cubicBezTo>
                  <a:pt x="291529" y="0"/>
                  <a:pt x="293328" y="1799"/>
                  <a:pt x="293328" y="4679"/>
                </a:cubicBezTo>
                <a:cubicBezTo>
                  <a:pt x="293328" y="6838"/>
                  <a:pt x="291529" y="8998"/>
                  <a:pt x="289009" y="8998"/>
                </a:cubicBezTo>
                <a:lnTo>
                  <a:pt x="275692" y="8998"/>
                </a:lnTo>
                <a:lnTo>
                  <a:pt x="275692" y="164480"/>
                </a:lnTo>
                <a:cubicBezTo>
                  <a:pt x="275692" y="166999"/>
                  <a:pt x="273893" y="168799"/>
                  <a:pt x="271014" y="168799"/>
                </a:cubicBezTo>
                <a:lnTo>
                  <a:pt x="246180" y="168799"/>
                </a:lnTo>
                <a:lnTo>
                  <a:pt x="246180" y="187154"/>
                </a:lnTo>
                <a:cubicBezTo>
                  <a:pt x="246180" y="196152"/>
                  <a:pt x="238622" y="203710"/>
                  <a:pt x="229624" y="203710"/>
                </a:cubicBezTo>
                <a:cubicBezTo>
                  <a:pt x="226744" y="203710"/>
                  <a:pt x="224225" y="202631"/>
                  <a:pt x="222066" y="201551"/>
                </a:cubicBezTo>
                <a:lnTo>
                  <a:pt x="222066" y="273893"/>
                </a:lnTo>
                <a:cubicBezTo>
                  <a:pt x="222066" y="284690"/>
                  <a:pt x="213068" y="293328"/>
                  <a:pt x="202270" y="293328"/>
                </a:cubicBezTo>
                <a:cubicBezTo>
                  <a:pt x="196152" y="293328"/>
                  <a:pt x="190753" y="290449"/>
                  <a:pt x="187154" y="286130"/>
                </a:cubicBezTo>
                <a:cubicBezTo>
                  <a:pt x="183555" y="290449"/>
                  <a:pt x="178156" y="293328"/>
                  <a:pt x="172038" y="293328"/>
                </a:cubicBezTo>
                <a:cubicBezTo>
                  <a:pt x="161240" y="293328"/>
                  <a:pt x="152243" y="284690"/>
                  <a:pt x="152243" y="273893"/>
                </a:cubicBezTo>
                <a:lnTo>
                  <a:pt x="152243" y="143605"/>
                </a:lnTo>
                <a:cubicBezTo>
                  <a:pt x="152243" y="139286"/>
                  <a:pt x="150443" y="135327"/>
                  <a:pt x="147204" y="132088"/>
                </a:cubicBezTo>
                <a:lnTo>
                  <a:pt x="89978" y="74501"/>
                </a:lnTo>
                <a:cubicBezTo>
                  <a:pt x="83859" y="68023"/>
                  <a:pt x="83859" y="57586"/>
                  <a:pt x="89978" y="51107"/>
                </a:cubicBezTo>
                <a:cubicBezTo>
                  <a:pt x="96456" y="44989"/>
                  <a:pt x="106894" y="44989"/>
                  <a:pt x="113372" y="51107"/>
                </a:cubicBezTo>
                <a:lnTo>
                  <a:pt x="152603" y="90698"/>
                </a:lnTo>
                <a:cubicBezTo>
                  <a:pt x="156562" y="94297"/>
                  <a:pt x="161600" y="96456"/>
                  <a:pt x="166639" y="96456"/>
                </a:cubicBezTo>
                <a:lnTo>
                  <a:pt x="217387" y="96456"/>
                </a:lnTo>
                <a:cubicBezTo>
                  <a:pt x="233223" y="96456"/>
                  <a:pt x="246180" y="109053"/>
                  <a:pt x="246180" y="124890"/>
                </a:cubicBezTo>
                <a:lnTo>
                  <a:pt x="246180" y="160161"/>
                </a:lnTo>
                <a:lnTo>
                  <a:pt x="266695" y="160161"/>
                </a:lnTo>
                <a:lnTo>
                  <a:pt x="266695" y="8998"/>
                </a:lnTo>
                <a:lnTo>
                  <a:pt x="26633" y="8998"/>
                </a:lnTo>
                <a:lnTo>
                  <a:pt x="26633" y="160161"/>
                </a:lnTo>
                <a:lnTo>
                  <a:pt x="138566" y="160161"/>
                </a:lnTo>
                <a:cubicBezTo>
                  <a:pt x="141085" y="160161"/>
                  <a:pt x="143245" y="161961"/>
                  <a:pt x="143245" y="164480"/>
                </a:cubicBezTo>
                <a:cubicBezTo>
                  <a:pt x="143245" y="166999"/>
                  <a:pt x="141085" y="168799"/>
                  <a:pt x="138566" y="168799"/>
                </a:cubicBezTo>
                <a:lnTo>
                  <a:pt x="22314" y="168799"/>
                </a:lnTo>
                <a:cubicBezTo>
                  <a:pt x="19795" y="168799"/>
                  <a:pt x="17636" y="166999"/>
                  <a:pt x="17636" y="164480"/>
                </a:cubicBezTo>
                <a:lnTo>
                  <a:pt x="17636" y="8998"/>
                </a:lnTo>
                <a:lnTo>
                  <a:pt x="4319" y="8998"/>
                </a:lnTo>
                <a:cubicBezTo>
                  <a:pt x="1799" y="8998"/>
                  <a:pt x="0" y="6838"/>
                  <a:pt x="0" y="4679"/>
                </a:cubicBezTo>
                <a:cubicBezTo>
                  <a:pt x="0" y="1799"/>
                  <a:pt x="1799" y="0"/>
                  <a:pt x="431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anchor="ctr"/>
          <a:lstStyle/>
          <a:p>
            <a:endParaRPr lang="en-US" sz="900">
              <a:latin typeface="Lato Light" panose="020F0502020204030203" pitchFamily="34" charset="0"/>
            </a:endParaRPr>
          </a:p>
        </p:txBody>
      </p:sp>
      <p:sp>
        <p:nvSpPr>
          <p:cNvPr id="8" name="Femkant 7"/>
          <p:cNvSpPr/>
          <p:nvPr/>
        </p:nvSpPr>
        <p:spPr>
          <a:xfrm>
            <a:off x="64360" y="4404261"/>
            <a:ext cx="2686156" cy="63655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latin typeface="Poppins"/>
              </a:rPr>
              <a:t>Basiskurs i prosjektstrukturer og datainnsamlingsark </a:t>
            </a:r>
          </a:p>
        </p:txBody>
      </p:sp>
      <p:sp>
        <p:nvSpPr>
          <p:cNvPr id="35" name="Femkant 34"/>
          <p:cNvSpPr/>
          <p:nvPr/>
        </p:nvSpPr>
        <p:spPr>
          <a:xfrm>
            <a:off x="7823730" y="5570767"/>
            <a:ext cx="4382470" cy="557350"/>
          </a:xfrm>
          <a:prstGeom prst="homePlate">
            <a:avLst/>
          </a:prstGeom>
          <a:gradFill flip="none" rotWithShape="1">
            <a:gsLst>
              <a:gs pos="30000">
                <a:schemeClr val="accent4"/>
              </a:gs>
              <a:gs pos="67000">
                <a:srgbClr val="5B9BD5"/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>
                <a:latin typeface="Poppins"/>
              </a:rPr>
              <a:t>Ferdigstille årsbudsjett</a:t>
            </a:r>
          </a:p>
        </p:txBody>
      </p:sp>
      <p:sp>
        <p:nvSpPr>
          <p:cNvPr id="10" name="Pil høyre 9"/>
          <p:cNvSpPr/>
          <p:nvPr/>
        </p:nvSpPr>
        <p:spPr>
          <a:xfrm>
            <a:off x="64360" y="6185458"/>
            <a:ext cx="12141840" cy="529763"/>
          </a:xfrm>
          <a:prstGeom prst="rightArrow">
            <a:avLst>
              <a:gd name="adj1" fmla="val 100000"/>
              <a:gd name="adj2" fmla="val 53783"/>
            </a:avLst>
          </a:prstGeom>
          <a:solidFill>
            <a:schemeClr val="bg2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00">
              <a:latin typeface="Poppins"/>
            </a:endParaRPr>
          </a:p>
        </p:txBody>
      </p:sp>
      <p:sp>
        <p:nvSpPr>
          <p:cNvPr id="13" name="TekstSylinder 12"/>
          <p:cNvSpPr txBox="1"/>
          <p:nvPr/>
        </p:nvSpPr>
        <p:spPr>
          <a:xfrm>
            <a:off x="-3671" y="6314683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1. juni</a:t>
            </a:r>
          </a:p>
        </p:txBody>
      </p:sp>
      <p:sp>
        <p:nvSpPr>
          <p:cNvPr id="36" name="TekstSylinder 35"/>
          <p:cNvSpPr txBox="1"/>
          <p:nvPr/>
        </p:nvSpPr>
        <p:spPr>
          <a:xfrm>
            <a:off x="2179781" y="6314684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8. juni</a:t>
            </a:r>
          </a:p>
        </p:txBody>
      </p:sp>
      <p:sp>
        <p:nvSpPr>
          <p:cNvPr id="37" name="TekstSylinder 36"/>
          <p:cNvSpPr txBox="1"/>
          <p:nvPr/>
        </p:nvSpPr>
        <p:spPr>
          <a:xfrm>
            <a:off x="4299583" y="6295936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3. </a:t>
            </a:r>
            <a:r>
              <a:rPr lang="nb-NO" sz="1200" err="1"/>
              <a:t>sep</a:t>
            </a:r>
            <a:endParaRPr lang="nb-NO" sz="1200"/>
          </a:p>
        </p:txBody>
      </p:sp>
      <p:sp>
        <p:nvSpPr>
          <p:cNvPr id="38" name="TekstSylinder 37"/>
          <p:cNvSpPr txBox="1"/>
          <p:nvPr/>
        </p:nvSpPr>
        <p:spPr>
          <a:xfrm>
            <a:off x="5293660" y="6306366"/>
            <a:ext cx="7110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0. </a:t>
            </a:r>
            <a:r>
              <a:rPr lang="nb-NO" sz="1200" err="1"/>
              <a:t>sep</a:t>
            </a:r>
            <a:endParaRPr lang="nb-NO" sz="1200"/>
          </a:p>
        </p:txBody>
      </p:sp>
      <p:sp>
        <p:nvSpPr>
          <p:cNvPr id="39" name="TekstSylinder 38"/>
          <p:cNvSpPr txBox="1"/>
          <p:nvPr/>
        </p:nvSpPr>
        <p:spPr>
          <a:xfrm>
            <a:off x="6546024" y="6306365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20. </a:t>
            </a:r>
            <a:r>
              <a:rPr lang="nb-NO" sz="1200" err="1"/>
              <a:t>okt</a:t>
            </a:r>
            <a:endParaRPr lang="nb-NO" sz="1200"/>
          </a:p>
        </p:txBody>
      </p:sp>
      <p:sp>
        <p:nvSpPr>
          <p:cNvPr id="40" name="TekstSylinder 39"/>
          <p:cNvSpPr txBox="1"/>
          <p:nvPr/>
        </p:nvSpPr>
        <p:spPr>
          <a:xfrm>
            <a:off x="8255360" y="6232450"/>
            <a:ext cx="14841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udsjettfrist blir bestemt senere</a:t>
            </a:r>
          </a:p>
        </p:txBody>
      </p:sp>
      <p:sp>
        <p:nvSpPr>
          <p:cNvPr id="41" name="TekstSylinder 40"/>
          <p:cNvSpPr txBox="1"/>
          <p:nvPr/>
        </p:nvSpPr>
        <p:spPr>
          <a:xfrm>
            <a:off x="10221452" y="6306363"/>
            <a:ext cx="8761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1. jan</a:t>
            </a:r>
          </a:p>
        </p:txBody>
      </p:sp>
      <p:sp>
        <p:nvSpPr>
          <p:cNvPr id="42" name="TextBox 17">
            <a:extLst>
              <a:ext uri="{FF2B5EF4-FFF2-40B4-BE49-F238E27FC236}">
                <a16:creationId xmlns:a16="http://schemas.microsoft.com/office/drawing/2014/main" id="{219185C5-7AA2-2F42-85D4-57CDBC84DE12}"/>
              </a:ext>
            </a:extLst>
          </p:cNvPr>
          <p:cNvSpPr txBox="1"/>
          <p:nvPr/>
        </p:nvSpPr>
        <p:spPr>
          <a:xfrm>
            <a:off x="832244" y="2901881"/>
            <a:ext cx="1592103" cy="1084912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1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28.6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asiskurs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holdt</a:t>
            </a:r>
            <a:endParaRPr lang="en-US" sz="1050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endParaRPr lang="en-US" sz="1200" b="1">
              <a:solidFill>
                <a:schemeClr val="tx2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</a:p>
        </p:txBody>
      </p:sp>
      <p:sp>
        <p:nvSpPr>
          <p:cNvPr id="43" name="TextBox 18">
            <a:extLst>
              <a:ext uri="{FF2B5EF4-FFF2-40B4-BE49-F238E27FC236}">
                <a16:creationId xmlns:a16="http://schemas.microsoft.com/office/drawing/2014/main" id="{0B64F306-65E4-CD4C-9FDB-544083200ED5}"/>
              </a:ext>
            </a:extLst>
          </p:cNvPr>
          <p:cNvSpPr txBox="1"/>
          <p:nvPr/>
        </p:nvSpPr>
        <p:spPr>
          <a:xfrm>
            <a:off x="2792907" y="2880153"/>
            <a:ext cx="1766830" cy="1123384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Milepæl</a:t>
            </a:r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2</a:t>
            </a:r>
          </a:p>
          <a:p>
            <a:pPr algn="ctr"/>
            <a:r>
              <a:rPr lang="en-US" sz="1200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rist: 3.9</a:t>
            </a:r>
          </a:p>
          <a:p>
            <a:pPr algn="ctr"/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Kvalitetssikring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oppsett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v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rosjektstruktu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for </a:t>
            </a:r>
            <a:b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BFV og BOA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er</a:t>
            </a:r>
            <a:r>
              <a:rPr lang="en-US" sz="105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en-US" sz="1050" err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ferdig</a:t>
            </a:r>
            <a:r>
              <a:rPr lang="en-US" sz="1400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</a:p>
        </p:txBody>
      </p:sp>
      <p:cxnSp>
        <p:nvCxnSpPr>
          <p:cNvPr id="51" name="Rett linje 50"/>
          <p:cNvCxnSpPr/>
          <p:nvPr/>
        </p:nvCxnSpPr>
        <p:spPr>
          <a:xfrm>
            <a:off x="6947864" y="1358060"/>
            <a:ext cx="161" cy="540933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emkant 30"/>
          <p:cNvSpPr/>
          <p:nvPr/>
        </p:nvSpPr>
        <p:spPr>
          <a:xfrm>
            <a:off x="277977" y="5083675"/>
            <a:ext cx="4384659" cy="529957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latin typeface="Poppins"/>
              </a:rPr>
              <a:t>Fakultet/institutt bestemmer prosjektstrukturer for BFV og BOA. Samtidig fortsetter arbeidet med datainnsamlingsarket</a:t>
            </a:r>
          </a:p>
        </p:txBody>
      </p:sp>
      <p:sp>
        <p:nvSpPr>
          <p:cNvPr id="34" name="Femkant 33"/>
          <p:cNvSpPr/>
          <p:nvPr/>
        </p:nvSpPr>
        <p:spPr>
          <a:xfrm>
            <a:off x="277977" y="5649111"/>
            <a:ext cx="6637366" cy="497328"/>
          </a:xfrm>
          <a:prstGeom prst="homeP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>
                <a:latin typeface="Poppins"/>
              </a:rPr>
              <a:t>Fakultet/institutt jobber med å konvertere eksisterende prosjekter og legger inn i datainnsamlingsarket</a:t>
            </a:r>
          </a:p>
        </p:txBody>
      </p:sp>
      <p:sp>
        <p:nvSpPr>
          <p:cNvPr id="59" name="TekstSylinder 58"/>
          <p:cNvSpPr txBox="1"/>
          <p:nvPr/>
        </p:nvSpPr>
        <p:spPr>
          <a:xfrm>
            <a:off x="59795" y="4002055"/>
            <a:ext cx="2197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chemeClr val="tx1">
                    <a:lumMod val="65000"/>
                    <a:lumOff val="35000"/>
                  </a:schemeClr>
                </a:solidFill>
                <a:latin typeface="Poppins"/>
              </a:rPr>
              <a:t>TIDSLINJE</a:t>
            </a:r>
            <a:r>
              <a:rPr lang="nb-NO">
                <a:solidFill>
                  <a:schemeClr val="tx1">
                    <a:lumMod val="65000"/>
                    <a:lumOff val="35000"/>
                  </a:schemeClr>
                </a:solidFill>
                <a:latin typeface="Poppins"/>
              </a:rPr>
              <a:t>:</a:t>
            </a:r>
          </a:p>
        </p:txBody>
      </p:sp>
      <p:sp>
        <p:nvSpPr>
          <p:cNvPr id="61" name="TextBox 20">
            <a:extLst>
              <a:ext uri="{FF2B5EF4-FFF2-40B4-BE49-F238E27FC236}">
                <a16:creationId xmlns:a16="http://schemas.microsoft.com/office/drawing/2014/main" id="{DA2B861B-385A-B74B-A10D-E9FECEF727ED}"/>
              </a:ext>
            </a:extLst>
          </p:cNvPr>
          <p:cNvSpPr txBox="1"/>
          <p:nvPr/>
        </p:nvSpPr>
        <p:spPr>
          <a:xfrm>
            <a:off x="10109742" y="2970417"/>
            <a:ext cx="833883" cy="646331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RIFT</a:t>
            </a:r>
          </a:p>
          <a:p>
            <a:pPr algn="ctr"/>
            <a:r>
              <a:rPr lang="en-US" b="1">
                <a:solidFill>
                  <a:schemeClr val="tx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1. jan</a:t>
            </a:r>
          </a:p>
        </p:txBody>
      </p:sp>
    </p:spTree>
    <p:extLst>
      <p:ext uri="{BB962C8B-B14F-4D97-AF65-F5344CB8AC3E}">
        <p14:creationId xmlns:p14="http://schemas.microsoft.com/office/powerpoint/2010/main" val="980788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660AA00-1D6A-47EB-86A3-7ABAA0B8D5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1400879" y="-1407532"/>
            <a:ext cx="1830643" cy="46457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37D9B7-D16B-48B1-952E-13DD9261B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1" y="104160"/>
            <a:ext cx="3505495" cy="1622321"/>
          </a:xfrm>
        </p:spPr>
        <p:txBody>
          <a:bodyPr>
            <a:normAutofit/>
          </a:bodyPr>
          <a:lstStyle/>
          <a:p>
            <a:r>
              <a:rPr lang="nb-NO" sz="4000">
                <a:solidFill>
                  <a:schemeClr val="bg1"/>
                </a:solidFill>
              </a:rPr>
              <a:t>BEVISST i BOT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B4C116-34D3-4F0C-8B13-57503C71E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0"/>
            <a:ext cx="3505494" cy="3785419"/>
          </a:xfrm>
        </p:spPr>
        <p:txBody>
          <a:bodyPr>
            <a:normAutofit/>
          </a:bodyPr>
          <a:lstStyle/>
          <a:p>
            <a:r>
              <a:rPr lang="nb-NO" sz="2000"/>
              <a:t>BEVISST er fortsatt NTNUs virksomhetsstyringssystem</a:t>
            </a:r>
          </a:p>
          <a:p>
            <a:r>
              <a:rPr lang="nb-NO" sz="2000"/>
              <a:t>Nye kildesystemer</a:t>
            </a: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557784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1E488E-E58E-4A15-A549-62C1B129C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5862" y="1034693"/>
            <a:ext cx="6019331" cy="478536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65692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9CC845-3646-419A-88FA-85FDF9889D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177351" y="-5184005"/>
            <a:ext cx="1830643" cy="121986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37A53F-8ADA-4F50-9329-3A53A989A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Nye kildesystemer, hva betyr dett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982EE1-100E-4F78-9929-7A5D7BEE54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36" y="3256596"/>
            <a:ext cx="3750295" cy="21222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264E06-71CC-4CD9-9842-7B8A640CF2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274" y="3338520"/>
            <a:ext cx="2886114" cy="2294460"/>
          </a:xfrm>
          <a:prstGeom prst="rect">
            <a:avLst/>
          </a:prstGeom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42FBB8-AD09-4B8C-A65E-747DB5FB3E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4444" y="2966420"/>
            <a:ext cx="3305636" cy="11717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7EF888-FFF8-4220-91E1-1ECA3DB9C4C0}"/>
              </a:ext>
            </a:extLst>
          </p:cNvPr>
          <p:cNvSpPr txBox="1"/>
          <p:nvPr/>
        </p:nvSpPr>
        <p:spPr>
          <a:xfrm>
            <a:off x="163136" y="1958229"/>
            <a:ext cx="3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finner jeg regnskapsrapporter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21AA38-339F-4910-8397-CE6AD0FDDC19}"/>
              </a:ext>
            </a:extLst>
          </p:cNvPr>
          <p:cNvSpPr txBox="1"/>
          <p:nvPr/>
        </p:nvSpPr>
        <p:spPr>
          <a:xfrm>
            <a:off x="4263776" y="1958229"/>
            <a:ext cx="3824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budsjetterer jeg BFV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378EC8-D42E-4A36-B994-AACA88C6BC70}"/>
              </a:ext>
            </a:extLst>
          </p:cNvPr>
          <p:cNvSpPr txBox="1"/>
          <p:nvPr/>
        </p:nvSpPr>
        <p:spPr>
          <a:xfrm>
            <a:off x="8213942" y="1960270"/>
            <a:ext cx="3904829" cy="367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følger jeg opp BOA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4F3B08-7059-4A5C-8A79-0F2AF88D81A1}"/>
              </a:ext>
            </a:extLst>
          </p:cNvPr>
          <p:cNvSpPr/>
          <p:nvPr/>
        </p:nvSpPr>
        <p:spPr>
          <a:xfrm>
            <a:off x="108870" y="1915627"/>
            <a:ext cx="3904829" cy="48041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A3D189-A98B-4F84-BF35-330806455131}"/>
              </a:ext>
            </a:extLst>
          </p:cNvPr>
          <p:cNvSpPr/>
          <p:nvPr/>
        </p:nvSpPr>
        <p:spPr>
          <a:xfrm>
            <a:off x="8213944" y="1918975"/>
            <a:ext cx="3904829" cy="4803168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F34607-E6E5-4E07-9840-3AC107E664A0}"/>
              </a:ext>
            </a:extLst>
          </p:cNvPr>
          <p:cNvSpPr/>
          <p:nvPr/>
        </p:nvSpPr>
        <p:spPr>
          <a:xfrm>
            <a:off x="4183332" y="1915627"/>
            <a:ext cx="3904829" cy="48041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4BF652-D2C0-45F9-9889-5B88171EFFAE}"/>
              </a:ext>
            </a:extLst>
          </p:cNvPr>
          <p:cNvSpPr txBox="1"/>
          <p:nvPr/>
        </p:nvSpPr>
        <p:spPr>
          <a:xfrm>
            <a:off x="678095" y="2794931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BF1F19-7855-4E16-9CF3-7C9D577C1F6D}"/>
              </a:ext>
            </a:extLst>
          </p:cNvPr>
          <p:cNvSpPr txBox="1"/>
          <p:nvPr/>
        </p:nvSpPr>
        <p:spPr>
          <a:xfrm>
            <a:off x="2686469" y="2797991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137C06-5DE1-4CCF-997A-2D55A4E25BE6}"/>
              </a:ext>
            </a:extLst>
          </p:cNvPr>
          <p:cNvSpPr txBox="1"/>
          <p:nvPr/>
        </p:nvSpPr>
        <p:spPr>
          <a:xfrm>
            <a:off x="4666027" y="2794930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159A88-305C-4A6F-A222-F04CE6D6C6E6}"/>
              </a:ext>
            </a:extLst>
          </p:cNvPr>
          <p:cNvSpPr txBox="1"/>
          <p:nvPr/>
        </p:nvSpPr>
        <p:spPr>
          <a:xfrm>
            <a:off x="6604557" y="2808017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7BCBB2-9C31-4A80-8069-1E44719A6CDF}"/>
              </a:ext>
            </a:extLst>
          </p:cNvPr>
          <p:cNvSpPr txBox="1"/>
          <p:nvPr/>
        </p:nvSpPr>
        <p:spPr>
          <a:xfrm>
            <a:off x="9786021" y="2543040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20" name="Multiplikasjonstegn 38">
            <a:extLst>
              <a:ext uri="{FF2B5EF4-FFF2-40B4-BE49-F238E27FC236}">
                <a16:creationId xmlns:a16="http://schemas.microsoft.com/office/drawing/2014/main" id="{05270E28-8D0A-4389-B7AC-EA65099D7FF5}"/>
              </a:ext>
            </a:extLst>
          </p:cNvPr>
          <p:cNvSpPr/>
          <p:nvPr/>
        </p:nvSpPr>
        <p:spPr>
          <a:xfrm>
            <a:off x="9401287" y="2823322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92E64BF-81D7-4D3F-A56C-5B65B5C1B98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540"/>
          <a:stretch/>
        </p:blipFill>
        <p:spPr>
          <a:xfrm>
            <a:off x="8841056" y="4997296"/>
            <a:ext cx="2783948" cy="159363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2424A34-4BB4-47F7-A314-60B4C26D0670}"/>
              </a:ext>
            </a:extLst>
          </p:cNvPr>
          <p:cNvSpPr txBox="1"/>
          <p:nvPr/>
        </p:nvSpPr>
        <p:spPr>
          <a:xfrm>
            <a:off x="9811789" y="4644704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</p:spTree>
    <p:extLst>
      <p:ext uri="{BB962C8B-B14F-4D97-AF65-F5344CB8AC3E}">
        <p14:creationId xmlns:p14="http://schemas.microsoft.com/office/powerpoint/2010/main" val="226316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4" grpId="0"/>
      <p:bldP spid="15" grpId="0"/>
      <p:bldP spid="16" grpId="0"/>
      <p:bldP spid="17" grpId="0"/>
      <p:bldP spid="18" grpId="0"/>
      <p:bldP spid="20" grpId="0" animBg="1"/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8F094FEA-5044-46CE-8197-F69963A30D8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3522"/>
          <a:stretch/>
        </p:blipFill>
        <p:spPr>
          <a:xfrm rot="5400000">
            <a:off x="4283898" y="-4281917"/>
            <a:ext cx="1028701" cy="9596494"/>
          </a:xfrm>
          <a:prstGeom prst="rect">
            <a:avLst/>
          </a:prstGeom>
        </p:spPr>
      </p:pic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927E45B1-55D6-4DCA-8D33-60B6B42E7B06}"/>
              </a:ext>
            </a:extLst>
          </p:cNvPr>
          <p:cNvSpPr/>
          <p:nvPr/>
        </p:nvSpPr>
        <p:spPr>
          <a:xfrm>
            <a:off x="9856046" y="140979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Gammel modell</a:t>
            </a: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Hovedprosjekt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trategisk satsning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enter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3" y="5901588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6" y="5905311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10" y="3728993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401" y="480141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50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2" y="47877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9" y="4781579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88875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9" y="317895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1" y="242173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1" y="169541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92877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  <a:latin typeface="+mn-lt"/>
              </a:rPr>
              <a:t>Endringer i økonomimodellen BFV</a:t>
            </a: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3" y="48082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3" y="5267041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1" y="609772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sjektleder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908131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3" y="4167755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93" y="2700740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stCxn id="14" idx="1"/>
            <a:endCxn id="114" idx="1"/>
          </p:cNvCxnSpPr>
          <p:nvPr/>
        </p:nvCxnSpPr>
        <p:spPr>
          <a:xfrm rot="10800000" flipH="1">
            <a:off x="6742391" y="3457957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ktangel 27">
            <a:extLst>
              <a:ext uri="{FF2B5EF4-FFF2-40B4-BE49-F238E27FC236}">
                <a16:creationId xmlns:a16="http://schemas.microsoft.com/office/drawing/2014/main" id="{1B73FFB3-1691-49FF-B309-E67BFDC227E2}"/>
              </a:ext>
            </a:extLst>
          </p:cNvPr>
          <p:cNvSpPr/>
          <p:nvPr/>
        </p:nvSpPr>
        <p:spPr>
          <a:xfrm>
            <a:off x="9812111" y="1368416"/>
            <a:ext cx="2274392" cy="961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stCxn id="118" idx="1"/>
            <a:endCxn id="126" idx="1"/>
          </p:cNvCxnSpPr>
          <p:nvPr/>
        </p:nvCxnSpPr>
        <p:spPr>
          <a:xfrm rot="10800000">
            <a:off x="4828251" y="2734077"/>
            <a:ext cx="12700" cy="255227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9006138" y="4518930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107811" y="4971007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1" name="Rektangel: avrundede hjørner 40">
            <a:extLst>
              <a:ext uri="{FF2B5EF4-FFF2-40B4-BE49-F238E27FC236}">
                <a16:creationId xmlns:a16="http://schemas.microsoft.com/office/drawing/2014/main" id="{48F53D11-6902-4400-A246-F9C2C910ECBC}"/>
              </a:ext>
            </a:extLst>
          </p:cNvPr>
          <p:cNvSpPr/>
          <p:nvPr/>
        </p:nvSpPr>
        <p:spPr>
          <a:xfrm>
            <a:off x="9812111" y="15886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Ny modell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379421" y="1416059"/>
            <a:ext cx="25417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Standardverdier i</a:t>
            </a:r>
            <a:r>
              <a:rPr lang="nb-NO" sz="2400"/>
              <a:t>: Konto, koststed, relasjoner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48195" y="4518930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2" name="Avrundet rektangel 51"/>
          <p:cNvSpPr/>
          <p:nvPr/>
        </p:nvSpPr>
        <p:spPr>
          <a:xfrm>
            <a:off x="6568123" y="1478746"/>
            <a:ext cx="1889057" cy="3145267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3" name="Avrundet rektangel 52"/>
          <p:cNvSpPr/>
          <p:nvPr/>
        </p:nvSpPr>
        <p:spPr>
          <a:xfrm>
            <a:off x="4612838" y="5949237"/>
            <a:ext cx="3698813" cy="833391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4" name="Avrundet rektangel 53"/>
          <p:cNvSpPr/>
          <p:nvPr/>
        </p:nvSpPr>
        <p:spPr>
          <a:xfrm>
            <a:off x="4712422" y="2256596"/>
            <a:ext cx="1718988" cy="1566216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9" name="Avrundet rektangel 58"/>
          <p:cNvSpPr/>
          <p:nvPr/>
        </p:nvSpPr>
        <p:spPr>
          <a:xfrm>
            <a:off x="4693207" y="3833562"/>
            <a:ext cx="1718988" cy="2104989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1" name="Avrundet rektangel 60"/>
          <p:cNvSpPr/>
          <p:nvPr/>
        </p:nvSpPr>
        <p:spPr>
          <a:xfrm>
            <a:off x="345296" y="2738761"/>
            <a:ext cx="2966696" cy="1020064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2" name="Avrundet rektangel 61"/>
          <p:cNvSpPr/>
          <p:nvPr/>
        </p:nvSpPr>
        <p:spPr>
          <a:xfrm>
            <a:off x="345397" y="1401876"/>
            <a:ext cx="2369355" cy="1236969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7" name="TekstSylinder 6"/>
          <p:cNvSpPr txBox="1"/>
          <p:nvPr/>
        </p:nvSpPr>
        <p:spPr>
          <a:xfrm>
            <a:off x="369700" y="2804606"/>
            <a:ext cx="3129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Frihetsgradene</a:t>
            </a:r>
            <a:r>
              <a:rPr lang="nb-NO" sz="2400"/>
              <a:t>: Prosjektstruktur BFV</a:t>
            </a:r>
          </a:p>
        </p:txBody>
      </p:sp>
      <p:sp>
        <p:nvSpPr>
          <p:cNvPr id="51" name="Avrundet rektangel 58">
            <a:extLst>
              <a:ext uri="{FF2B5EF4-FFF2-40B4-BE49-F238E27FC236}">
                <a16:creationId xmlns:a16="http://schemas.microsoft.com/office/drawing/2014/main" id="{559C4A41-C037-4D2B-9B35-B692D6A155B3}"/>
              </a:ext>
            </a:extLst>
          </p:cNvPr>
          <p:cNvSpPr/>
          <p:nvPr/>
        </p:nvSpPr>
        <p:spPr>
          <a:xfrm>
            <a:off x="6592663" y="4645970"/>
            <a:ext cx="1718988" cy="1324850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41577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18" grpId="0" animBg="1"/>
      <p:bldP spid="123" grpId="0" animBg="1"/>
      <p:bldP spid="124" grpId="0" animBg="1"/>
      <p:bldP spid="126" grpId="0" animBg="1"/>
      <p:bldP spid="90" grpId="0" animBg="1"/>
      <p:bldP spid="115" grpId="0" animBg="1"/>
      <p:bldP spid="14" grpId="0" animBg="1"/>
      <p:bldP spid="113" grpId="0" animBg="1"/>
      <p:bldP spid="114" grpId="0" animBg="1"/>
      <p:bldP spid="117" grpId="0" animBg="1"/>
      <p:bldP spid="137" grpId="0" animBg="1"/>
      <p:bldP spid="138" grpId="0" animBg="1"/>
      <p:bldP spid="87" grpId="0" animBg="1"/>
      <p:bldP spid="92" grpId="0" animBg="1"/>
      <p:bldP spid="96" grpId="0" animBg="1"/>
      <p:bldP spid="28" grpId="0" animBg="1"/>
      <p:bldP spid="39" grpId="0" animBg="1"/>
      <p:bldP spid="40" grpId="0" animBg="1"/>
      <p:bldP spid="41" grpId="0" animBg="1"/>
      <p:bldP spid="6" grpId="0"/>
      <p:bldP spid="9" grpId="0" animBg="1"/>
      <p:bldP spid="52" grpId="0" animBg="1"/>
      <p:bldP spid="53" grpId="0" animBg="1"/>
      <p:bldP spid="54" grpId="0" animBg="1"/>
      <p:bldP spid="59" grpId="0" animBg="1"/>
      <p:bldP spid="61" grpId="0" animBg="1"/>
      <p:bldP spid="62" grpId="0" animBg="1"/>
      <p:bldP spid="7" grpId="0"/>
      <p:bldP spid="5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026AC2-32EA-4CAC-88F3-A507EBFE4B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1652" y="-5592110"/>
            <a:ext cx="1028701" cy="1219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FD996C-3548-461F-AD9A-230A967FA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254" y="1"/>
            <a:ext cx="9891346" cy="1028702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Hva betyr dett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233A3E-45A6-463B-AEFF-6249C6DD5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01" y="1189141"/>
            <a:ext cx="5845763" cy="5046785"/>
          </a:xfrm>
          <a:prstGeom prst="rect">
            <a:avLst/>
          </a:prstGeom>
        </p:spPr>
      </p:pic>
      <p:sp>
        <p:nvSpPr>
          <p:cNvPr id="10" name="Multiplikasjonstegn 38">
            <a:extLst>
              <a:ext uri="{FF2B5EF4-FFF2-40B4-BE49-F238E27FC236}">
                <a16:creationId xmlns:a16="http://schemas.microsoft.com/office/drawing/2014/main" id="{D847D9C7-FAD5-47D0-AE81-4A0FC073A3E5}"/>
              </a:ext>
            </a:extLst>
          </p:cNvPr>
          <p:cNvSpPr/>
          <p:nvPr/>
        </p:nvSpPr>
        <p:spPr>
          <a:xfrm>
            <a:off x="1676400" y="1028703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Multiplikasjonstegn 38">
            <a:extLst>
              <a:ext uri="{FF2B5EF4-FFF2-40B4-BE49-F238E27FC236}">
                <a16:creationId xmlns:a16="http://schemas.microsoft.com/office/drawing/2014/main" id="{B5B77502-D2F8-4255-9989-AC263A920BCB}"/>
              </a:ext>
            </a:extLst>
          </p:cNvPr>
          <p:cNvSpPr/>
          <p:nvPr/>
        </p:nvSpPr>
        <p:spPr>
          <a:xfrm>
            <a:off x="1676400" y="3429000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2C7EB6-10E2-4340-B0CF-A2EA009E08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938" t="8566"/>
          <a:stretch/>
        </p:blipFill>
        <p:spPr>
          <a:xfrm>
            <a:off x="6814039" y="1266092"/>
            <a:ext cx="4899454" cy="544237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755350-4762-4667-93FB-96BC3BDAFD2B}"/>
              </a:ext>
            </a:extLst>
          </p:cNvPr>
          <p:cNvSpPr/>
          <p:nvPr/>
        </p:nvSpPr>
        <p:spPr>
          <a:xfrm>
            <a:off x="6814039" y="1266092"/>
            <a:ext cx="448407" cy="16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AC3C2D-1354-4334-9D94-C9313645F888}"/>
              </a:ext>
            </a:extLst>
          </p:cNvPr>
          <p:cNvSpPr/>
          <p:nvPr/>
        </p:nvSpPr>
        <p:spPr>
          <a:xfrm>
            <a:off x="6814038" y="4319953"/>
            <a:ext cx="448407" cy="16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1C6EF1-1614-47ED-B00E-C2567FA0A78F}"/>
              </a:ext>
            </a:extLst>
          </p:cNvPr>
          <p:cNvSpPr txBox="1"/>
          <p:nvPr/>
        </p:nvSpPr>
        <p:spPr>
          <a:xfrm>
            <a:off x="7038241" y="1050642"/>
            <a:ext cx="1503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Delprosjekter</a:t>
            </a:r>
          </a:p>
        </p:txBody>
      </p:sp>
    </p:spTree>
    <p:extLst>
      <p:ext uri="{BB962C8B-B14F-4D97-AF65-F5344CB8AC3E}">
        <p14:creationId xmlns:p14="http://schemas.microsoft.com/office/powerpoint/2010/main" val="244068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3" grpId="0" animBg="1"/>
      <p:bldP spid="14" grpId="0" animBg="1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8F094FEA-5044-46CE-8197-F69963A30D8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23522"/>
          <a:stretch/>
        </p:blipFill>
        <p:spPr>
          <a:xfrm rot="5400000">
            <a:off x="4283898" y="-4281917"/>
            <a:ext cx="1028701" cy="9596494"/>
          </a:xfrm>
          <a:prstGeom prst="rect">
            <a:avLst/>
          </a:prstGeom>
        </p:spPr>
      </p:pic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927E45B1-55D6-4DCA-8D33-60B6B42E7B06}"/>
              </a:ext>
            </a:extLst>
          </p:cNvPr>
          <p:cNvSpPr/>
          <p:nvPr/>
        </p:nvSpPr>
        <p:spPr>
          <a:xfrm>
            <a:off x="9856046" y="140979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Gammel modell</a:t>
            </a: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Hovedprosjekt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trategisk satsning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enter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3" y="5901588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6" y="5905311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401" y="480141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50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2" y="47877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9" y="4781579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88875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pesifisering av finansieringskilde</a:t>
            </a: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9" y="317895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Finansieringskilde</a:t>
            </a: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92877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  <a:latin typeface="+mn-lt"/>
              </a:rPr>
              <a:t>Endringer i økonomimodellen BOA</a:t>
            </a: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3" y="48082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3" y="5267041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1" y="609772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sjektleder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8881403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3" y="4167755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stCxn id="14" idx="1"/>
            <a:endCxn id="114" idx="1"/>
          </p:cNvCxnSpPr>
          <p:nvPr/>
        </p:nvCxnSpPr>
        <p:spPr>
          <a:xfrm rot="10800000" flipH="1">
            <a:off x="6742391" y="3457957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ktangel 27">
            <a:extLst>
              <a:ext uri="{FF2B5EF4-FFF2-40B4-BE49-F238E27FC236}">
                <a16:creationId xmlns:a16="http://schemas.microsoft.com/office/drawing/2014/main" id="{1B73FFB3-1691-49FF-B309-E67BFDC227E2}"/>
              </a:ext>
            </a:extLst>
          </p:cNvPr>
          <p:cNvSpPr/>
          <p:nvPr/>
        </p:nvSpPr>
        <p:spPr>
          <a:xfrm>
            <a:off x="9812111" y="1368416"/>
            <a:ext cx="2274392" cy="961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stCxn id="118" idx="1"/>
            <a:endCxn id="126" idx="1"/>
          </p:cNvCxnSpPr>
          <p:nvPr/>
        </p:nvCxnSpPr>
        <p:spPr>
          <a:xfrm rot="10800000">
            <a:off x="4828251" y="2734077"/>
            <a:ext cx="12700" cy="255227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8806078" y="4528548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107811" y="4971007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1" name="Rektangel: avrundede hjørner 40">
            <a:extLst>
              <a:ext uri="{FF2B5EF4-FFF2-40B4-BE49-F238E27FC236}">
                <a16:creationId xmlns:a16="http://schemas.microsoft.com/office/drawing/2014/main" id="{48F53D11-6902-4400-A246-F9C2C910ECBC}"/>
              </a:ext>
            </a:extLst>
          </p:cNvPr>
          <p:cNvSpPr/>
          <p:nvPr/>
        </p:nvSpPr>
        <p:spPr>
          <a:xfrm>
            <a:off x="9812111" y="15886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Ny modell</a:t>
            </a: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10689431" y="477680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rbeidspakke (BOA)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379421" y="1416059"/>
            <a:ext cx="25417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Standardverdier i</a:t>
            </a:r>
            <a:r>
              <a:rPr lang="nb-NO" sz="2400"/>
              <a:t>: Konto, koststed, relasjoner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48195" y="4518930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2" name="Avrundet rektangel 51"/>
          <p:cNvSpPr/>
          <p:nvPr/>
        </p:nvSpPr>
        <p:spPr>
          <a:xfrm>
            <a:off x="6502489" y="2938976"/>
            <a:ext cx="1889057" cy="2914197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3" name="Avrundet rektangel 52"/>
          <p:cNvSpPr/>
          <p:nvPr/>
        </p:nvSpPr>
        <p:spPr>
          <a:xfrm>
            <a:off x="4612838" y="5949237"/>
            <a:ext cx="3698813" cy="833391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4" name="Avrundet rektangel 53"/>
          <p:cNvSpPr/>
          <p:nvPr/>
        </p:nvSpPr>
        <p:spPr>
          <a:xfrm>
            <a:off x="4712422" y="2256596"/>
            <a:ext cx="1718988" cy="1566216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9" name="Avrundet rektangel 58"/>
          <p:cNvSpPr/>
          <p:nvPr/>
        </p:nvSpPr>
        <p:spPr>
          <a:xfrm>
            <a:off x="4693207" y="3833562"/>
            <a:ext cx="1718988" cy="789027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1" name="Avrundet rektangel 60"/>
          <p:cNvSpPr/>
          <p:nvPr/>
        </p:nvSpPr>
        <p:spPr>
          <a:xfrm>
            <a:off x="345296" y="2738761"/>
            <a:ext cx="2966696" cy="1020064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2" name="Avrundet rektangel 61"/>
          <p:cNvSpPr/>
          <p:nvPr/>
        </p:nvSpPr>
        <p:spPr>
          <a:xfrm>
            <a:off x="345397" y="1401876"/>
            <a:ext cx="2369355" cy="1236969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7" name="TekstSylinder 6"/>
          <p:cNvSpPr txBox="1"/>
          <p:nvPr/>
        </p:nvSpPr>
        <p:spPr>
          <a:xfrm>
            <a:off x="369700" y="2804606"/>
            <a:ext cx="3129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Frihetsgradene</a:t>
            </a:r>
            <a:r>
              <a:rPr lang="nb-NO" sz="2400"/>
              <a:t>: Prosjektstruktur BOA</a:t>
            </a:r>
          </a:p>
        </p:txBody>
      </p:sp>
      <p:sp>
        <p:nvSpPr>
          <p:cNvPr id="55" name="Avrundet rektangel 53">
            <a:extLst>
              <a:ext uri="{FF2B5EF4-FFF2-40B4-BE49-F238E27FC236}">
                <a16:creationId xmlns:a16="http://schemas.microsoft.com/office/drawing/2014/main" id="{5EAF22DB-1ED6-4326-9B12-4F7F348A9134}"/>
              </a:ext>
            </a:extLst>
          </p:cNvPr>
          <p:cNvSpPr/>
          <p:nvPr/>
        </p:nvSpPr>
        <p:spPr>
          <a:xfrm>
            <a:off x="4646788" y="4666531"/>
            <a:ext cx="1718988" cy="1201820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49" name="Avrundet rektangel 58">
            <a:extLst>
              <a:ext uri="{FF2B5EF4-FFF2-40B4-BE49-F238E27FC236}">
                <a16:creationId xmlns:a16="http://schemas.microsoft.com/office/drawing/2014/main" id="{8DC26F51-F4D6-49D6-A977-B605B744CCFD}"/>
              </a:ext>
            </a:extLst>
          </p:cNvPr>
          <p:cNvSpPr/>
          <p:nvPr/>
        </p:nvSpPr>
        <p:spPr>
          <a:xfrm>
            <a:off x="10542758" y="4677801"/>
            <a:ext cx="1649242" cy="1264471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389241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18" grpId="0" animBg="1"/>
      <p:bldP spid="123" grpId="0" animBg="1"/>
      <p:bldP spid="124" grpId="0" animBg="1"/>
      <p:bldP spid="126" grpId="0" animBg="1"/>
      <p:bldP spid="90" grpId="0" animBg="1"/>
      <p:bldP spid="115" grpId="0" animBg="1"/>
      <p:bldP spid="14" grpId="0" animBg="1"/>
      <p:bldP spid="113" grpId="0" animBg="1"/>
      <p:bldP spid="114" grpId="0" animBg="1"/>
      <p:bldP spid="138" grpId="0" animBg="1"/>
      <p:bldP spid="87" grpId="0" animBg="1"/>
      <p:bldP spid="92" grpId="0" animBg="1"/>
      <p:bldP spid="96" grpId="0" animBg="1"/>
      <p:bldP spid="28" grpId="0" animBg="1"/>
      <p:bldP spid="39" grpId="0" animBg="1"/>
      <p:bldP spid="40" grpId="0" animBg="1"/>
      <p:bldP spid="41" grpId="0" animBg="1"/>
      <p:bldP spid="43" grpId="0" animBg="1"/>
      <p:bldP spid="6" grpId="0"/>
      <p:bldP spid="9" grpId="0" animBg="1"/>
      <p:bldP spid="52" grpId="0" animBg="1"/>
      <p:bldP spid="53" grpId="0" animBg="1"/>
      <p:bldP spid="54" grpId="0" animBg="1"/>
      <p:bldP spid="59" grpId="0" animBg="1"/>
      <p:bldP spid="61" grpId="0" animBg="1"/>
      <p:bldP spid="62" grpId="0" animBg="1"/>
      <p:bldP spid="7" grpId="0"/>
      <p:bldP spid="55" grpId="0" animBg="1"/>
      <p:bldP spid="4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65E2D6068FF4F9177B8D39939F081" ma:contentTypeVersion="2" ma:contentTypeDescription="Create a new document." ma:contentTypeScope="" ma:versionID="27c016aa6727662c5400fc20481af56a">
  <xsd:schema xmlns:xsd="http://www.w3.org/2001/XMLSchema" xmlns:xs="http://www.w3.org/2001/XMLSchema" xmlns:p="http://schemas.microsoft.com/office/2006/metadata/properties" xmlns:ns2="4dbf2689-7e86-44a3-abd1-0d84ed4bf17c" targetNamespace="http://schemas.microsoft.com/office/2006/metadata/properties" ma:root="true" ma:fieldsID="7e734d892ed5354bb2ac605d67e46867" ns2:_="">
    <xsd:import namespace="4dbf2689-7e86-44a3-abd1-0d84ed4bf1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f2689-7e86-44a3-abd1-0d84ed4bf1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0372808-3431-49C7-86A7-B089C223FF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AD5BAA-1D11-42D4-9254-7A8D871C56DA}">
  <ds:schemaRefs>
    <ds:schemaRef ds:uri="4dbf2689-7e86-44a3-abd1-0d84ed4bf1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692B2CE-189B-4D25-9DA7-E5C294F29611}">
  <ds:schemaRefs>
    <ds:schemaRef ds:uri="4dbf2689-7e86-44a3-abd1-0d84ed4bf17c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18</Words>
  <Application>Microsoft Office PowerPoint</Application>
  <PresentationFormat>Widescreen</PresentationFormat>
  <Paragraphs>656</Paragraphs>
  <Slides>43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3</vt:i4>
      </vt:variant>
    </vt:vector>
  </HeadingPairs>
  <TitlesOfParts>
    <vt:vector size="54" baseType="lpstr">
      <vt:lpstr>Arial</vt:lpstr>
      <vt:lpstr>Calibri</vt:lpstr>
      <vt:lpstr>Calibri Light</vt:lpstr>
      <vt:lpstr>Lato Light</vt:lpstr>
      <vt:lpstr>League Spartan</vt:lpstr>
      <vt:lpstr>Mukta ExtraLight</vt:lpstr>
      <vt:lpstr>Poppins</vt:lpstr>
      <vt:lpstr>Poppins Light</vt:lpstr>
      <vt:lpstr>Wingdings</vt:lpstr>
      <vt:lpstr>Office Theme</vt:lpstr>
      <vt:lpstr>think-cell Slide</vt:lpstr>
      <vt:lpstr>Innføring i BOTT økonomimodell Basiskurs 1</vt:lpstr>
      <vt:lpstr>PowerPoint-presentasjon</vt:lpstr>
      <vt:lpstr>PowerPoint-presentasjon</vt:lpstr>
      <vt:lpstr>Definisjon BOTT økonomimodell</vt:lpstr>
      <vt:lpstr>BEVISST i BOTT</vt:lpstr>
      <vt:lpstr>Nye kildesystemer, hva betyr dette?</vt:lpstr>
      <vt:lpstr>Endringer i økonomimodellen BFV</vt:lpstr>
      <vt:lpstr>Hva betyr dette?</vt:lpstr>
      <vt:lpstr>Endringer i økonomimodellen BOA</vt:lpstr>
      <vt:lpstr>Konto og koststed</vt:lpstr>
      <vt:lpstr>Prosjektstruktur BFV</vt:lpstr>
      <vt:lpstr>Noen prinsipper</vt:lpstr>
      <vt:lpstr>Prosjektstruktur for BFV</vt:lpstr>
      <vt:lpstr>Prosjektstruktur BFV</vt:lpstr>
      <vt:lpstr>PowerPoint-presentasjon</vt:lpstr>
      <vt:lpstr>PowerPoint-presentasjon</vt:lpstr>
      <vt:lpstr>RD: Hvordan kan vi bruke dette?</vt:lpstr>
      <vt:lpstr>Prosjektstruktur BFV – et eksempel</vt:lpstr>
      <vt:lpstr>PowerPoint-presentasjon</vt:lpstr>
      <vt:lpstr>RSO: Hvordan kan vi bruke dette?</vt:lpstr>
      <vt:lpstr>PowerPoint-presentasjon</vt:lpstr>
      <vt:lpstr>PowerPoint-presentasjon</vt:lpstr>
      <vt:lpstr>PowerPoint-presentasjon</vt:lpstr>
      <vt:lpstr>Gruppeoppgave: Økonomistyring BFV</vt:lpstr>
      <vt:lpstr>Prosjektstruktur BOA</vt:lpstr>
      <vt:lpstr>Prinsipper</vt:lpstr>
      <vt:lpstr>PowerPoint-presentasjon</vt:lpstr>
      <vt:lpstr>Prosjekt med 1 koststed og 1 finansiør</vt:lpstr>
      <vt:lpstr>Prosjekt med 1 finansiør og flere koststeder</vt:lpstr>
      <vt:lpstr>Muliggjør et aktivt valg av egenfinansieringsandel</vt:lpstr>
      <vt:lpstr>Muliggjør et aktivt valg av egenfinansieringsandel</vt:lpstr>
      <vt:lpstr>Endringer i prosjektet &amp; konsekvenser for samspill</vt:lpstr>
      <vt:lpstr>Prosjekt med 2 finansiører og 1 ksted</vt:lpstr>
      <vt:lpstr>Prosjektstruktur</vt:lpstr>
      <vt:lpstr>Hvordan kan vi bruke dette?</vt:lpstr>
      <vt:lpstr>PowerPoint-presentasjon</vt:lpstr>
      <vt:lpstr>Gruppeoppgave: Prosjektstyring BOA</vt:lpstr>
      <vt:lpstr>Andre momenter i BOTT økonomimodell</vt:lpstr>
      <vt:lpstr>Leiested - definisjon</vt:lpstr>
      <vt:lpstr>PowerPoint-presentasjon</vt:lpstr>
      <vt:lpstr>Andre endringer</vt:lpstr>
      <vt:lpstr>Gruppeoppgav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føring i BOTT økonomimodell</dc:title>
  <dc:creator>Annette Ysland Ludvigsen</dc:creator>
  <cp:lastModifiedBy>Trude Wictoria Bersvendsen</cp:lastModifiedBy>
  <cp:revision>1</cp:revision>
  <dcterms:created xsi:type="dcterms:W3CDTF">2021-06-09T06:07:43Z</dcterms:created>
  <dcterms:modified xsi:type="dcterms:W3CDTF">2021-06-28T11:4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65E2D6068FF4F9177B8D39939F081</vt:lpwstr>
  </property>
</Properties>
</file>